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</p:sldMasterIdLst>
  <p:notesMasterIdLst>
    <p:notesMasterId r:id="rId36"/>
  </p:notesMasterIdLst>
  <p:sldIdLst>
    <p:sldId id="256" r:id="rId3"/>
    <p:sldId id="290" r:id="rId4"/>
    <p:sldId id="291" r:id="rId5"/>
    <p:sldId id="292" r:id="rId6"/>
    <p:sldId id="293" r:id="rId7"/>
    <p:sldId id="264" r:id="rId8"/>
    <p:sldId id="286" r:id="rId9"/>
    <p:sldId id="607" r:id="rId10"/>
    <p:sldId id="616" r:id="rId11"/>
    <p:sldId id="311" r:id="rId12"/>
    <p:sldId id="608" r:id="rId13"/>
    <p:sldId id="606" r:id="rId14"/>
    <p:sldId id="319" r:id="rId15"/>
    <p:sldId id="602" r:id="rId16"/>
    <p:sldId id="604" r:id="rId17"/>
    <p:sldId id="613" r:id="rId18"/>
    <p:sldId id="622" r:id="rId19"/>
    <p:sldId id="315" r:id="rId20"/>
    <p:sldId id="316" r:id="rId21"/>
    <p:sldId id="317" r:id="rId22"/>
    <p:sldId id="621" r:id="rId23"/>
    <p:sldId id="313" r:id="rId24"/>
    <p:sldId id="624" r:id="rId25"/>
    <p:sldId id="323" r:id="rId26"/>
    <p:sldId id="324" r:id="rId27"/>
    <p:sldId id="626" r:id="rId28"/>
    <p:sldId id="614" r:id="rId29"/>
    <p:sldId id="615" r:id="rId30"/>
    <p:sldId id="601" r:id="rId31"/>
    <p:sldId id="330" r:id="rId32"/>
    <p:sldId id="612" r:id="rId33"/>
    <p:sldId id="617" r:id="rId34"/>
    <p:sldId id="627" r:id="rId35"/>
  </p:sldIdLst>
  <p:sldSz cx="12192000" cy="6858000"/>
  <p:notesSz cx="6735763" cy="98663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B3EC484C-6BFB-419F-9B07-79B55A635F31}">
          <p14:sldIdLst>
            <p14:sldId id="256"/>
            <p14:sldId id="290"/>
            <p14:sldId id="291"/>
            <p14:sldId id="292"/>
            <p14:sldId id="293"/>
            <p14:sldId id="264"/>
            <p14:sldId id="286"/>
            <p14:sldId id="607"/>
            <p14:sldId id="616"/>
            <p14:sldId id="311"/>
            <p14:sldId id="608"/>
            <p14:sldId id="606"/>
            <p14:sldId id="319"/>
            <p14:sldId id="602"/>
            <p14:sldId id="604"/>
            <p14:sldId id="613"/>
            <p14:sldId id="622"/>
            <p14:sldId id="315"/>
            <p14:sldId id="316"/>
            <p14:sldId id="317"/>
            <p14:sldId id="621"/>
            <p14:sldId id="313"/>
            <p14:sldId id="624"/>
            <p14:sldId id="323"/>
            <p14:sldId id="324"/>
            <p14:sldId id="626"/>
            <p14:sldId id="614"/>
            <p14:sldId id="615"/>
            <p14:sldId id="601"/>
            <p14:sldId id="330"/>
            <p14:sldId id="612"/>
            <p14:sldId id="617"/>
            <p14:sldId id="62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4" autoAdjust="0"/>
    <p:restoredTop sz="68831" autoAdjust="0"/>
  </p:normalViewPr>
  <p:slideViewPr>
    <p:cSldViewPr snapToGrid="0" showGuides="1">
      <p:cViewPr varScale="1">
        <p:scale>
          <a:sx n="49" d="100"/>
          <a:sy n="49" d="100"/>
        </p:scale>
        <p:origin x="1458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E227CC-8F40-43A0-A784-1E77C9226FBC}" type="datetimeFigureOut">
              <a:rPr lang="fr-FR" smtClean="0"/>
              <a:t>15/11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F4D65A-1715-468F-B794-3B7668D934D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6242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The Shift Project est une Association créée en 2010, à but non lucrative, loi 1901 qui est au service de l’intérêt général .</a:t>
            </a:r>
          </a:p>
          <a:p>
            <a:endParaRPr lang="fr-FR" dirty="0"/>
          </a:p>
          <a:p>
            <a:r>
              <a:rPr lang="fr-FR" dirty="0"/>
              <a:t>Notre objectif est d’endiguer le changement climatique et sortir de la dépendance aux énergies fossiles.</a:t>
            </a:r>
          </a:p>
          <a:p>
            <a:endParaRPr lang="fr-FR" dirty="0"/>
          </a:p>
          <a:p>
            <a:r>
              <a:rPr lang="fr-FR" dirty="0"/>
              <a:t>Comment on y parvient : en éclairant et influençant le débat sur la transition énergétique</a:t>
            </a:r>
          </a:p>
          <a:p>
            <a:endParaRPr lang="fr-FR" dirty="0"/>
          </a:p>
          <a:p>
            <a:r>
              <a:rPr lang="fr-FR" dirty="0"/>
              <a:t>Eclaire et influencer : ça veut dire quoi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FD4FFDA-26C4-44AA-A48E-1E0BCCFCCF9A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391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79939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13324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02182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42796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10742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44629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97950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u="sng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15753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13388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9217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ECLAIRER 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réunit des groupes de travail (on ne travail pas en chambre) de personnes choisies dans tout milieu (académique, public, privé ou associatif)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produit des analyses chiffrées (niveau quantitatif – tonnes, joules ou personnes plutôt qu’euros ou dollars), de façon transparente (sourcé, accessible, en mode collaboratif – on voit les acteurs du secteur pour avoir leur relecture,  leur critique et être challengé)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propose des recommandations opérationnelles dans un </a:t>
            </a:r>
            <a:r>
              <a:rPr lang="fr-FR" sz="1200" baseline="30000" dirty="0">
                <a:solidFill>
                  <a:srgbClr val="00005A"/>
                </a:solidFill>
              </a:rPr>
              <a:t>souci d’apport de réponses à la bonne échelle</a:t>
            </a:r>
            <a:endParaRPr lang="fr-FR" sz="1200" b="0" baseline="30000" dirty="0">
              <a:solidFill>
                <a:srgbClr val="0028DC"/>
              </a:solidFill>
            </a:endParaRP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Tous ces rapports sont directement accessibles sur le site</a:t>
            </a:r>
          </a:p>
          <a:p>
            <a:pPr>
              <a:defRPr/>
            </a:pPr>
            <a:endParaRPr lang="fr-FR" sz="1200" baseline="30000" dirty="0">
              <a:solidFill>
                <a:srgbClr val="00005A"/>
              </a:solidFill>
            </a:endParaRPr>
          </a:p>
          <a:p>
            <a:pPr>
              <a:defRPr/>
            </a:pPr>
            <a:r>
              <a:rPr lang="fr-FR" sz="1200" baseline="30000" dirty="0">
                <a:solidFill>
                  <a:srgbClr val="00005A"/>
                </a:solidFill>
              </a:rPr>
              <a:t>INFLUENCER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005A"/>
                </a:solidFill>
              </a:rPr>
              <a:t>-&gt; On pose les rapports sur les bonnes tables pour orienter ou forcer le débat sur les questions clés à traiter. 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005A"/>
                </a:solidFill>
              </a:rPr>
              <a:t>-&gt; On parle aux acteurs politiques et économiques à différents niveaux stratégiques (</a:t>
            </a:r>
            <a:r>
              <a:rPr lang="fr-FR" sz="1200" b="0" i="1" baseline="30000" dirty="0">
                <a:solidFill>
                  <a:srgbClr val="00005A"/>
                </a:solidFill>
              </a:rPr>
              <a:t>salariés d’une entreprise qui s’impliquent dans la stratégie de leur organisation, dirigeants politiques et économique) </a:t>
            </a:r>
            <a:r>
              <a:rPr lang="fr-FR" sz="1200" b="0" i="0" baseline="30000" dirty="0">
                <a:solidFill>
                  <a:srgbClr val="00005A"/>
                </a:solidFill>
              </a:rPr>
              <a:t>lors d‘événements et des rencontres. </a:t>
            </a:r>
          </a:p>
          <a:p>
            <a:pPr>
              <a:defRPr/>
            </a:pPr>
            <a:r>
              <a:rPr lang="fr-FR" sz="1200" b="0" i="0" baseline="30000" dirty="0">
                <a:solidFill>
                  <a:srgbClr val="00005A"/>
                </a:solidFill>
              </a:rPr>
              <a:t>-&gt; Pour ce faire, on tisse des partenariats dans tous les milieux également pour élargir et accélérer la diffusion de nos travaux</a:t>
            </a:r>
          </a:p>
          <a:p>
            <a:pPr>
              <a:defRPr/>
            </a:pPr>
            <a:endParaRPr lang="fr-FR" sz="1200" b="0" baseline="30000" dirty="0">
              <a:solidFill>
                <a:srgbClr val="0028DC"/>
              </a:solidFill>
            </a:endParaRPr>
          </a:p>
          <a:p>
            <a:pPr marL="171450" indent="-171450">
              <a:buFont typeface="Symbol" panose="05050102010706020507" pitchFamily="18" charset="2"/>
              <a:buChar char="Þ"/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notre grille de lecture de la transition est la double contrainte carbone</a:t>
            </a:r>
          </a:p>
          <a:p>
            <a:pPr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0148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04092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33811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78331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17748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82329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8857572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370505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70951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500445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8117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Association</a:t>
            </a:r>
            <a:r>
              <a:rPr lang="fr-FR" dirty="0"/>
              <a:t>: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Bureau avec Président, trésorier a minima.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JMJ – rôle très important dans la publicisation et démocratisation des enjeux énergie-climat et Laurent – ancien patron d’une très grande entreprise spécialisée dans </a:t>
            </a:r>
            <a:r>
              <a:rPr lang="fr-F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l'immobilier commercial.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fr-FR" dirty="0"/>
              <a:t> 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Salarié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Shifters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18kp : gros appui sur partie recherche et plaidoyer 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gazette, festival du </a:t>
            </a:r>
            <a:r>
              <a:rPr lang="fr-FR" dirty="0" err="1"/>
              <a:t>cinema</a:t>
            </a:r>
            <a:r>
              <a:rPr lang="fr-FR" dirty="0"/>
              <a:t> – 14-16/2022, shift </a:t>
            </a:r>
            <a:r>
              <a:rPr lang="fr-FR" dirty="0" err="1"/>
              <a:t>your</a:t>
            </a:r>
            <a:r>
              <a:rPr lang="fr-FR" dirty="0"/>
              <a:t> job, podcasts, </a:t>
            </a:r>
            <a:r>
              <a:rPr lang="fr-FR" dirty="0" err="1"/>
              <a:t>UniverShifté</a:t>
            </a:r>
            <a:r>
              <a:rPr lang="fr-FR" dirty="0"/>
              <a:t>, concours de nouvelles…</a:t>
            </a:r>
          </a:p>
          <a:p>
            <a:pPr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40501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49001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80628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 Shift ne vit que grâce au financement d’entreprise (majoritairement)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 types de financement : membres (adhèrent au Shift) et sponsors (qui, par leur don, participent au financement d’un ou de plusieurs projets spécifiques.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ernant l’indépendance du Shift vis-à-vis de ses membres financeurs, elle est certifiée par sa composition au sein du Conseil d’administration avec une présence de 5 entreprises au sein de 12 administrateur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Être membre avec une cotisation minimum de 10k€ en fonction du CA (de par notre intérêt général, une réduction fiscale de 60% est applicable pour les entreprises), c’est bien sûr siéger à l’AG mais surtout rejoindre le Shift Club : un réseau d'acteurs économiques engagés au sein duquel ont lieu des événements exclusif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n moyen sur Hello Asso: 500€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2941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8483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76561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40631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102541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7670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F6E96EB-DE99-42ED-BE57-2AC8C73F7C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0" name="Espace réservé du texte 21">
            <a:extLst>
              <a:ext uri="{FF2B5EF4-FFF2-40B4-BE49-F238E27FC236}">
                <a16:creationId xmlns:a16="http://schemas.microsoft.com/office/drawing/2014/main" id="{5D4EC818-E2FE-469F-8800-F98EC775F0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23" name="Espace réservé du pied de page 22">
            <a:extLst>
              <a:ext uri="{FF2B5EF4-FFF2-40B4-BE49-F238E27FC236}">
                <a16:creationId xmlns:a16="http://schemas.microsoft.com/office/drawing/2014/main" id="{4A0FA277-6530-4BBA-8347-493C5016CEC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id="{5037D7BE-765C-4687-AECB-22821A6CDC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675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115A8D6A-B59A-43C8-8441-67DDCAA109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6000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D354CC4-F255-4727-A3E4-110B5EC0F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47895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6911BB7-4B6B-43A7-8550-9458FF4BED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EAC08D7-4DCF-4915-9482-AF1C7BED7C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The Shift Project – Nom du document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3AF493-B16B-4DAF-BCBA-6C66A78D8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5" name="Espace réservé du texte 21">
            <a:extLst>
              <a:ext uri="{FF2B5EF4-FFF2-40B4-BE49-F238E27FC236}">
                <a16:creationId xmlns:a16="http://schemas.microsoft.com/office/drawing/2014/main" id="{D29D1EAA-E07C-488C-AB5F-68145BA135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68661"/>
            <a:ext cx="7200000" cy="4141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</p:spTree>
    <p:extLst>
      <p:ext uri="{BB962C8B-B14F-4D97-AF65-F5344CB8AC3E}">
        <p14:creationId xmlns:p14="http://schemas.microsoft.com/office/powerpoint/2010/main" val="30031967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Diapositive de titre Blanc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6096000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fr-FR"/>
              <a:t>Image ici</a:t>
            </a:r>
            <a:endParaRPr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695323" y="1447800"/>
            <a:ext cx="5040315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fr-FR"/>
              <a:t>Titre du document</a:t>
            </a:r>
            <a:endParaRPr/>
          </a:p>
          <a:p>
            <a:pPr lvl="1">
              <a:defRPr/>
            </a:pPr>
            <a:r>
              <a:rPr lang="fr-FR"/>
              <a:t>Sous titre</a:t>
            </a:r>
            <a:endParaRPr/>
          </a:p>
          <a:p>
            <a:pPr lvl="2">
              <a:defRPr/>
            </a:pPr>
            <a:r>
              <a:rPr lang="fr-FR"/>
              <a:t>Date</a:t>
            </a:r>
            <a:endParaRPr/>
          </a:p>
          <a:p>
            <a:pPr lvl="2">
              <a:defRPr/>
            </a:pPr>
            <a:endParaRPr lang="fr-FR"/>
          </a:p>
          <a:p>
            <a:pPr lvl="3">
              <a:defRPr/>
            </a:pPr>
            <a:r>
              <a:rPr lang="fr-FR"/>
              <a:t>Commentaire</a:t>
            </a:r>
            <a:endParaRPr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695323" y="728662"/>
            <a:ext cx="1776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2938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6_Slide vierg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auto">
          <a:xfrm>
            <a:off x="695325" y="6489700"/>
            <a:ext cx="8058150" cy="3683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</a:rPr>
              <a:t>7e édition du Shift Forum – 14 et 15 octobre 2021 – The Shift Project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fr-FR"/>
              <a:t>Modifiez le style du tit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523118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ble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6303076D-1FA4-49C0-9051-159BEF3A1C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 rot="10800000">
            <a:off x="6451598" y="0"/>
            <a:ext cx="5740401" cy="68580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4DDEA18-8066-4612-A989-D1DBA0AAA8D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748705"/>
            <a:ext cx="1782414" cy="432000"/>
          </a:xfrm>
          <a:prstGeom prst="rect">
            <a:avLst/>
          </a:prstGeom>
        </p:spPr>
      </p:pic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3669946F-B2D5-4055-BCCE-FA4B82448F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4" y="1447800"/>
            <a:ext cx="5045079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document</a:t>
            </a:r>
          </a:p>
          <a:p>
            <a:pPr lvl="1"/>
            <a:r>
              <a:rPr lang="fr-FR" dirty="0"/>
              <a:t>Sous titre</a:t>
            </a:r>
          </a:p>
          <a:p>
            <a:pPr lvl="2"/>
            <a:r>
              <a:rPr lang="fr-FR" dirty="0"/>
              <a:t>Date</a:t>
            </a:r>
          </a:p>
          <a:p>
            <a:pPr lvl="2"/>
            <a:endParaRPr lang="fr-FR" dirty="0"/>
          </a:p>
          <a:p>
            <a:pPr lvl="3"/>
            <a:r>
              <a:rPr lang="fr-FR" dirty="0"/>
              <a:t>Commentaire</a:t>
            </a:r>
          </a:p>
        </p:txBody>
      </p:sp>
    </p:spTree>
    <p:extLst>
      <p:ext uri="{BB962C8B-B14F-4D97-AF65-F5344CB8AC3E}">
        <p14:creationId xmlns:p14="http://schemas.microsoft.com/office/powerpoint/2010/main" val="174156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F78F1709-E914-4D2E-9726-C8209606E8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Image ici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70FC076-4118-407E-88F1-545493431D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4" y="1447800"/>
            <a:ext cx="5040315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document</a:t>
            </a:r>
          </a:p>
          <a:p>
            <a:pPr lvl="1"/>
            <a:r>
              <a:rPr lang="fr-FR" dirty="0"/>
              <a:t>Sous titre</a:t>
            </a:r>
          </a:p>
          <a:p>
            <a:pPr lvl="2"/>
            <a:r>
              <a:rPr lang="fr-FR" dirty="0"/>
              <a:t>Date</a:t>
            </a:r>
          </a:p>
          <a:p>
            <a:pPr lvl="2"/>
            <a:endParaRPr lang="fr-FR" dirty="0"/>
          </a:p>
          <a:p>
            <a:pPr lvl="3"/>
            <a:r>
              <a:rPr lang="fr-FR" dirty="0"/>
              <a:t>Comment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8FC3FFE-5E6B-4EAC-8EB2-1756222684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5324" y="728662"/>
            <a:ext cx="1776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812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6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D473358B-A2BA-418C-89F2-1316F657B1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027" b="218"/>
          <a:stretch/>
        </p:blipFill>
        <p:spPr>
          <a:xfrm>
            <a:off x="0" y="0"/>
            <a:ext cx="6124824" cy="6858000"/>
          </a:xfrm>
          <a:prstGeom prst="rect">
            <a:avLst/>
          </a:prstGeom>
        </p:spPr>
      </p:pic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88882101-99DF-4310-A674-74A2697A1B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62775" y="728663"/>
            <a:ext cx="4533900" cy="54006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lang="fr-FR" sz="2800" b="1" dirty="0" smtClean="0">
                <a:solidFill>
                  <a:schemeClr val="bg1"/>
                </a:solidFill>
              </a:defRPr>
            </a:lvl1pPr>
            <a:lvl2pPr marL="0" indent="0">
              <a:buNone/>
              <a:tabLst>
                <a:tab pos="0" algn="l"/>
                <a:tab pos="92075" algn="l"/>
              </a:tabLst>
              <a:defRPr sz="1400">
                <a:solidFill>
                  <a:schemeClr val="accent2"/>
                </a:solidFill>
              </a:defRPr>
            </a:lvl2pPr>
            <a:lvl3pPr marL="0" indent="0">
              <a:buNone/>
              <a:tabLst/>
              <a:defRPr sz="2000" b="1">
                <a:solidFill>
                  <a:schemeClr val="accent6"/>
                </a:solidFill>
              </a:defRPr>
            </a:lvl3pPr>
            <a:lvl4pPr marL="0" indent="1371600">
              <a:buNone/>
              <a:defRPr sz="1100">
                <a:solidFill>
                  <a:schemeClr val="accent6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Grand chapitre ici</a:t>
            </a:r>
          </a:p>
          <a:p>
            <a:pPr lvl="1"/>
            <a:r>
              <a:rPr lang="fr-FR" dirty="0"/>
              <a:t>Petit chapitr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Autres chapitres ici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Petit chapitr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fr-FR" dirty="0"/>
          </a:p>
          <a:p>
            <a:pPr lvl="2"/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565A81F-95CD-406C-B3A0-D25EC2370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310" y="5960121"/>
            <a:ext cx="1396365" cy="338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601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31CF5F32-1A1A-45CE-960A-3BAA17282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 rot="10800000">
            <a:off x="6451598" y="0"/>
            <a:ext cx="5740401" cy="68580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67ADAC65-280F-499E-A2FB-3ED5A87EE1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5689331"/>
            <a:ext cx="1815451" cy="440007"/>
          </a:xfrm>
          <a:prstGeom prst="rect">
            <a:avLst/>
          </a:prstGeom>
        </p:spPr>
      </p:pic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id="{8451EA5E-9226-4A83-B7B0-B3739C0BD228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10551" y="2080261"/>
            <a:ext cx="3600449" cy="303276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ontactes :</a:t>
            </a:r>
          </a:p>
          <a:p>
            <a:pPr lvl="0"/>
            <a:endParaRPr lang="fr-FR" dirty="0"/>
          </a:p>
          <a:p>
            <a:pPr lvl="1"/>
            <a:r>
              <a:rPr lang="fr-FR" dirty="0"/>
              <a:t>Nom Prénom </a:t>
            </a:r>
          </a:p>
          <a:p>
            <a:pPr lvl="2"/>
            <a:r>
              <a:rPr lang="fr-FR" dirty="0"/>
              <a:t>Poste</a:t>
            </a:r>
          </a:p>
          <a:p>
            <a:pPr lvl="2"/>
            <a:r>
              <a:rPr lang="fr-FR" dirty="0"/>
              <a:t>Téléphone / email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F3EC92D-779A-4E97-9573-C33E8C50A6C5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11200" y="728663"/>
            <a:ext cx="5029200" cy="1168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buNone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Ajouter remercîments</a:t>
            </a:r>
          </a:p>
          <a:p>
            <a:pPr lvl="1"/>
            <a:r>
              <a:rPr lang="fr-FR" dirty="0"/>
              <a:t>Commentaire</a:t>
            </a:r>
          </a:p>
        </p:txBody>
      </p:sp>
    </p:spTree>
    <p:extLst>
      <p:ext uri="{BB962C8B-B14F-4D97-AF65-F5344CB8AC3E}">
        <p14:creationId xmlns:p14="http://schemas.microsoft.com/office/powerpoint/2010/main" val="335462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érou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69869AEF-CCD8-4223-A62A-B67B78EC08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F6E96EB-DE99-42ED-BE57-2AC8C73F7C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E1BA1FB5-42B1-4ADB-9393-900D41F527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46570B7-78E1-4CC8-B417-713B48D22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1" name="Espace réservé du texte 21">
            <a:extLst>
              <a:ext uri="{FF2B5EF4-FFF2-40B4-BE49-F238E27FC236}">
                <a16:creationId xmlns:a16="http://schemas.microsoft.com/office/drawing/2014/main" id="{54A9E150-ED62-4D21-9D77-D60806307E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675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7BBB92B3-C4F2-4EF0-8318-9613E74CC5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6000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</p:spTree>
    <p:extLst>
      <p:ext uri="{BB962C8B-B14F-4D97-AF65-F5344CB8AC3E}">
        <p14:creationId xmlns:p14="http://schemas.microsoft.com/office/powerpoint/2010/main" val="2941967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qui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id="{468ED51B-E7B7-4786-9BAA-9DD4108FADF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5325" y="1641635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37" name="Espace réservé pour une image  19">
            <a:extLst>
              <a:ext uri="{FF2B5EF4-FFF2-40B4-BE49-F238E27FC236}">
                <a16:creationId xmlns:a16="http://schemas.microsoft.com/office/drawing/2014/main" id="{6EB2579A-E5EB-434F-B814-3C38BB878F4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695325" y="4510500"/>
            <a:ext cx="1079500" cy="1080000"/>
          </a:xfrm>
          <a:prstGeom prst="ellipse">
            <a:avLst/>
          </a:prstGeom>
          <a:noFill/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31" name="Espace réservé du texte 21">
            <a:extLst>
              <a:ext uri="{FF2B5EF4-FFF2-40B4-BE49-F238E27FC236}">
                <a16:creationId xmlns:a16="http://schemas.microsoft.com/office/drawing/2014/main" id="{26DE09D1-45CD-4669-9E70-E8FD9E9C40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35188" y="1641634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36" name="Espace réservé pour une image  19">
            <a:extLst>
              <a:ext uri="{FF2B5EF4-FFF2-40B4-BE49-F238E27FC236}">
                <a16:creationId xmlns:a16="http://schemas.microsoft.com/office/drawing/2014/main" id="{C3BBAEE2-6E8A-44F0-88A4-E67948A6968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6096000" y="1641635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48" name="Espace réservé pour une image  19">
            <a:extLst>
              <a:ext uri="{FF2B5EF4-FFF2-40B4-BE49-F238E27FC236}">
                <a16:creationId xmlns:a16="http://schemas.microsoft.com/office/drawing/2014/main" id="{0447784E-B91B-4CDE-9D41-9623EB77EA7C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096000" y="4510500"/>
            <a:ext cx="1079500" cy="1080000"/>
          </a:xfrm>
          <a:prstGeom prst="ellipse">
            <a:avLst/>
          </a:prstGeom>
          <a:noFill/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5865095-93B9-47A8-9F31-07635F0F4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56" name="Espace réservé pour une image  19">
            <a:extLst>
              <a:ext uri="{FF2B5EF4-FFF2-40B4-BE49-F238E27FC236}">
                <a16:creationId xmlns:a16="http://schemas.microsoft.com/office/drawing/2014/main" id="{D911FD4F-D7A2-4B92-A90A-0A8D33708CEE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695325" y="3075317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58" name="Espace réservé pour une image  19">
            <a:extLst>
              <a:ext uri="{FF2B5EF4-FFF2-40B4-BE49-F238E27FC236}">
                <a16:creationId xmlns:a16="http://schemas.microsoft.com/office/drawing/2014/main" id="{55EB7255-C0DC-4110-9FB4-3FFCCDF1FDE5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6096000" y="3075317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D7D7FD5F-62A2-4539-9024-47B9D1D53817}"/>
              </a:ext>
            </a:extLst>
          </p:cNvPr>
          <p:cNvSpPr>
            <a:spLocks noGrp="1"/>
          </p:cNvSpPr>
          <p:nvPr>
            <p:ph type="sldNum" sz="quarter" idx="82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4" name="Espace réservé du texte 21">
            <a:extLst>
              <a:ext uri="{FF2B5EF4-FFF2-40B4-BE49-F238E27FC236}">
                <a16:creationId xmlns:a16="http://schemas.microsoft.com/office/drawing/2014/main" id="{14AFFB8B-5E13-4C5F-8FE9-9BCCE5A41013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2135188" y="4510500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5" name="Espace réservé du texte 21">
            <a:extLst>
              <a:ext uri="{FF2B5EF4-FFF2-40B4-BE49-F238E27FC236}">
                <a16:creationId xmlns:a16="http://schemas.microsoft.com/office/drawing/2014/main" id="{09DBBCBD-79FE-4C56-8D8B-3A886708FE0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135188" y="3067548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6" name="Espace réservé du texte 21">
            <a:extLst>
              <a:ext uri="{FF2B5EF4-FFF2-40B4-BE49-F238E27FC236}">
                <a16:creationId xmlns:a16="http://schemas.microsoft.com/office/drawing/2014/main" id="{D514AC0E-D69C-4B4C-9E0B-7BBD1DE344E9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535863" y="1641634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7" name="Espace réservé du texte 21">
            <a:extLst>
              <a:ext uri="{FF2B5EF4-FFF2-40B4-BE49-F238E27FC236}">
                <a16:creationId xmlns:a16="http://schemas.microsoft.com/office/drawing/2014/main" id="{E620A7A5-C59E-4B74-9BCA-EF6DC7B1C4B0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535863" y="4510500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84D700AC-3905-4484-A74D-B0D8C65E99AA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7535863" y="3067548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3AFCF450-EF66-4134-9279-6517F740AF66}"/>
              </a:ext>
            </a:extLst>
          </p:cNvPr>
          <p:cNvSpPr>
            <a:spLocks noGrp="1"/>
          </p:cNvSpPr>
          <p:nvPr>
            <p:ph type="ftr" sz="quarter" idx="88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3574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118" userDrawn="1">
          <p15:clr>
            <a:srgbClr val="FBAE40"/>
          </p15:clr>
        </p15:guide>
        <p15:guide id="2" pos="1345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pos="4747" userDrawn="1">
          <p15:clr>
            <a:srgbClr val="FBAE40"/>
          </p15:clr>
        </p15:guide>
        <p15:guide id="5" pos="45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 simp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695325" y="729932"/>
            <a:ext cx="7200900" cy="5039040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55688" y="1089028"/>
            <a:ext cx="6480176" cy="4319586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020B1600-578D-4241-8950-0CC22F645C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974" y="5410199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B2AE99A9-5E9C-47D1-BD4E-69D6F5B1F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5975" y="728661"/>
            <a:ext cx="3060699" cy="46783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B4C2F911-8E9A-484A-9E48-7E377C3E9F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pied de page 13">
            <a:extLst>
              <a:ext uri="{FF2B5EF4-FFF2-40B4-BE49-F238E27FC236}">
                <a16:creationId xmlns:a16="http://schemas.microsoft.com/office/drawing/2014/main" id="{937AFD15-46EB-4AF5-85D2-02E7D0A23F5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0063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  <p15:guide id="2" pos="5314" userDrawn="1">
          <p15:clr>
            <a:srgbClr val="FBAE40"/>
          </p15:clr>
        </p15:guide>
        <p15:guide id="3" pos="665" userDrawn="1">
          <p15:clr>
            <a:srgbClr val="FBAE40"/>
          </p15:clr>
        </p15:guide>
        <p15:guide id="4" pos="4747" userDrawn="1">
          <p15:clr>
            <a:srgbClr val="FBAE40"/>
          </p15:clr>
        </p15:guide>
        <p15:guide id="5" orient="horz" pos="68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 si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4295775" y="729932"/>
            <a:ext cx="7200900" cy="5037458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6138" y="1089027"/>
            <a:ext cx="6480176" cy="4319585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020B1600-578D-4241-8950-0CC22F645C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5408614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B2AE99A9-5E9C-47D1-BD4E-69D6F5B1F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728661"/>
            <a:ext cx="3060699" cy="46799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B4C2F911-8E9A-484A-9E48-7E377C3E9F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94AE6C5A-1144-4BE5-8E93-A8A2E590BCD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92936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3" userDrawn="1">
          <p15:clr>
            <a:srgbClr val="FBAE40"/>
          </p15:clr>
        </p15:guide>
        <p15:guide id="2" pos="7015" userDrawn="1">
          <p15:clr>
            <a:srgbClr val="FBAE40"/>
          </p15:clr>
        </p15:guide>
        <p15:guide id="3" pos="2366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orient="horz" pos="68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695324" y="1808163"/>
            <a:ext cx="5221289" cy="3960812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55688" y="2168524"/>
            <a:ext cx="4500562" cy="324008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0" name="Espace réservé du contenu 7">
            <a:extLst>
              <a:ext uri="{FF2B5EF4-FFF2-40B4-BE49-F238E27FC236}">
                <a16:creationId xmlns:a16="http://schemas.microsoft.com/office/drawing/2014/main" id="{1C3F484B-F1E5-46EF-AEEA-CA2D15060EB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35750" y="2168115"/>
            <a:ext cx="4500563" cy="324054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2DA31DA5-5047-4A4A-B603-2F785746B8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728662"/>
            <a:ext cx="6480174" cy="902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ED8F667-F1E1-4B50-9536-1C056C27BA6A}"/>
              </a:ext>
            </a:extLst>
          </p:cNvPr>
          <p:cNvSpPr/>
          <p:nvPr userDrawn="1"/>
        </p:nvSpPr>
        <p:spPr>
          <a:xfrm>
            <a:off x="6275388" y="1807436"/>
            <a:ext cx="5221289" cy="3961612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21">
            <a:extLst>
              <a:ext uri="{FF2B5EF4-FFF2-40B4-BE49-F238E27FC236}">
                <a16:creationId xmlns:a16="http://schemas.microsoft.com/office/drawing/2014/main" id="{26931E08-1A94-4451-9161-B198A6D1BE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4" y="5772150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9CB4E690-5CE9-4237-BD51-BA885032F1E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5768975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1533F41-2F51-43A1-838C-C25B80F14E4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758E070-1D3C-4622-8D10-42D9788C69D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32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015" userDrawn="1">
          <p15:clr>
            <a:srgbClr val="FBAE40"/>
          </p15:clr>
        </p15:guide>
        <p15:guide id="3" pos="665" userDrawn="1">
          <p15:clr>
            <a:srgbClr val="FBAE40"/>
          </p15:clr>
        </p15:guide>
        <p15:guide id="5" orient="horz" pos="136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  <p15:guide id="7" pos="3953" userDrawn="1">
          <p15:clr>
            <a:srgbClr val="FBAE40"/>
          </p15:clr>
        </p15:guide>
        <p15:guide id="8" pos="3727" userDrawn="1">
          <p15:clr>
            <a:srgbClr val="FBAE40"/>
          </p15:clr>
        </p15:guide>
        <p15:guide id="10" orient="horz" pos="1139" userDrawn="1">
          <p15:clr>
            <a:srgbClr val="FBAE40"/>
          </p15:clr>
        </p15:guide>
        <p15:guide id="11" pos="3500" userDrawn="1">
          <p15:clr>
            <a:srgbClr val="FBAE40"/>
          </p15:clr>
        </p15:guide>
        <p15:guide id="12" pos="41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69869AEF-CCD8-4223-A62A-B67B78EC08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728661"/>
            <a:ext cx="6480174" cy="50403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6911BB7-4B6B-43A7-8550-9458FF4BED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EAC08D7-4DCF-4915-9482-AF1C7BED7C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378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ormat pay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1364A12-82F1-4EEA-A1E4-37F5325217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2" y="-1"/>
            <a:ext cx="7896227" cy="648970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2F54D659-03C2-47CC-B1DA-B2B7D27385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5975" y="728661"/>
            <a:ext cx="3060699" cy="50403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E990722E-7125-4141-BB09-A51D188151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975" y="5768975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289A47E6-EA74-429B-9910-6C565EF4006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48CBA86-E312-4216-98A0-872678270B8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37792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  <p15:guide id="2" pos="531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ormat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1364A12-82F1-4EEA-A1E4-37F5325217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75500" y="-1"/>
            <a:ext cx="5016499" cy="648970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C2047D8F-14F6-4B4C-BC95-B64617571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728661"/>
            <a:ext cx="5940425" cy="4681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D2028DC4-9359-4CA4-92C4-70E406F0B8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5410199"/>
            <a:ext cx="5940425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F969CB9-F35E-402E-B2A6-06BEE109AB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B6D7238D-E0F9-42A1-865A-8AF91807C78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27404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20" userDrawn="1">
          <p15:clr>
            <a:srgbClr val="FBAE40"/>
          </p15:clr>
        </p15:guide>
        <p15:guide id="2" pos="41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CD19508-AE08-4C2E-AB9C-15459CD298AC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6E87530-2D0F-4538-AE57-C6BD8F8364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5325" y="6489700"/>
            <a:ext cx="8058150" cy="3683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marL="0" indent="0" algn="l">
              <a:tabLst/>
              <a:defRPr sz="1000" b="0" i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he Shift Project – Nom du document</a:t>
            </a: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F51635D-BDE6-4E41-B96C-E500E29B9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728661"/>
            <a:ext cx="7200000" cy="54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FC200EC-EEEA-4C65-A006-E13A79E0B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3475" y="6486522"/>
            <a:ext cx="2450306" cy="368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E6FC93F-F2A3-445D-A0BC-DF28AB73B10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6383" y="6617811"/>
            <a:ext cx="180292" cy="105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392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0" r:id="rId2"/>
    <p:sldLayoutId id="2147483658" r:id="rId3"/>
    <p:sldLayoutId id="2147483650" r:id="rId4"/>
    <p:sldLayoutId id="2147483671" r:id="rId5"/>
    <p:sldLayoutId id="2147483666" r:id="rId6"/>
    <p:sldLayoutId id="2147483663" r:id="rId7"/>
    <p:sldLayoutId id="2147483662" r:id="rId8"/>
    <p:sldLayoutId id="2147483664" r:id="rId9"/>
    <p:sldLayoutId id="2147483675" r:id="rId10"/>
    <p:sldLayoutId id="2147483676" r:id="rId11"/>
    <p:sldLayoutId id="2147483677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spcAft>
          <a:spcPts val="1200"/>
        </a:spcAft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orient="horz" pos="459" userDrawn="1">
          <p15:clr>
            <a:srgbClr val="F26B43"/>
          </p15:clr>
        </p15:guide>
        <p15:guide id="3" pos="438" userDrawn="1">
          <p15:clr>
            <a:srgbClr val="F26B43"/>
          </p15:clr>
        </p15:guide>
        <p15:guide id="4" pos="7242" userDrawn="1">
          <p15:clr>
            <a:srgbClr val="F26B43"/>
          </p15:clr>
        </p15:guide>
        <p15:guide id="6" orient="horz" pos="36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417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69" r:id="rId3"/>
    <p:sldLayoutId id="2147483668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59" userDrawn="1">
          <p15:clr>
            <a:srgbClr val="F26B43"/>
          </p15:clr>
        </p15:guide>
        <p15:guide id="3" orient="horz" pos="3861" userDrawn="1">
          <p15:clr>
            <a:srgbClr val="F26B43"/>
          </p15:clr>
        </p15:guide>
        <p15:guide id="4" pos="724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1.png"/><Relationship Id="rId4" Type="http://schemas.openxmlformats.org/officeDocument/2006/relationships/image" Target="../media/image9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1.png"/><Relationship Id="rId4" Type="http://schemas.openxmlformats.org/officeDocument/2006/relationships/image" Target="../media/image9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1.png"/><Relationship Id="rId4" Type="http://schemas.openxmlformats.org/officeDocument/2006/relationships/image" Target="../media/image9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13" Type="http://schemas.openxmlformats.org/officeDocument/2006/relationships/image" Target="../media/image99.png"/><Relationship Id="rId3" Type="http://schemas.openxmlformats.org/officeDocument/2006/relationships/image" Target="../media/image86.png"/><Relationship Id="rId7" Type="http://schemas.openxmlformats.org/officeDocument/2006/relationships/image" Target="../media/image92.png"/><Relationship Id="rId12" Type="http://schemas.openxmlformats.org/officeDocument/2006/relationships/image" Target="../media/image9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0.png"/><Relationship Id="rId11" Type="http://schemas.openxmlformats.org/officeDocument/2006/relationships/image" Target="../media/image97.png"/><Relationship Id="rId5" Type="http://schemas.openxmlformats.org/officeDocument/2006/relationships/image" Target="../media/image88.png"/><Relationship Id="rId10" Type="http://schemas.openxmlformats.org/officeDocument/2006/relationships/image" Target="../media/image94.png"/><Relationship Id="rId4" Type="http://schemas.openxmlformats.org/officeDocument/2006/relationships/image" Target="../media/image87.png"/><Relationship Id="rId9" Type="http://schemas.openxmlformats.org/officeDocument/2006/relationships/image" Target="../media/image93.png"/><Relationship Id="rId14" Type="http://schemas.openxmlformats.org/officeDocument/2006/relationships/image" Target="../media/image8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emf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5.png"/><Relationship Id="rId5" Type="http://schemas.openxmlformats.org/officeDocument/2006/relationships/image" Target="../media/image10.emf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8.png"/><Relationship Id="rId5" Type="http://schemas.openxmlformats.org/officeDocument/2006/relationships/image" Target="../media/image107.png"/><Relationship Id="rId4" Type="http://schemas.openxmlformats.org/officeDocument/2006/relationships/image" Target="../media/image10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5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1.jpg"/><Relationship Id="rId12" Type="http://schemas.openxmlformats.org/officeDocument/2006/relationships/image" Target="../media/image24.jpg"/><Relationship Id="rId17" Type="http://schemas.openxmlformats.org/officeDocument/2006/relationships/image" Target="../media/image29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png"/><Relationship Id="rId11" Type="http://schemas.openxmlformats.org/officeDocument/2006/relationships/image" Target="../media/image11.emf"/><Relationship Id="rId5" Type="http://schemas.openxmlformats.org/officeDocument/2006/relationships/image" Target="../media/image10.emf"/><Relationship Id="rId15" Type="http://schemas.openxmlformats.org/officeDocument/2006/relationships/image" Target="../media/image27.pn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31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3.png"/><Relationship Id="rId1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26" Type="http://schemas.openxmlformats.org/officeDocument/2006/relationships/image" Target="../media/image52.png"/><Relationship Id="rId39" Type="http://schemas.openxmlformats.org/officeDocument/2006/relationships/image" Target="../media/image63.png"/><Relationship Id="rId21" Type="http://schemas.openxmlformats.org/officeDocument/2006/relationships/image" Target="../media/image47.jpg"/><Relationship Id="rId34" Type="http://schemas.openxmlformats.org/officeDocument/2006/relationships/hyperlink" Target="mailto:partenariats@theshiftproject.org" TargetMode="External"/><Relationship Id="rId7" Type="http://schemas.openxmlformats.org/officeDocument/2006/relationships/image" Target="../media/image33.jp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42.jpg"/><Relationship Id="rId20" Type="http://schemas.openxmlformats.org/officeDocument/2006/relationships/image" Target="../media/image46.jpg"/><Relationship Id="rId29" Type="http://schemas.openxmlformats.org/officeDocument/2006/relationships/image" Target="../media/image55.png"/><Relationship Id="rId41" Type="http://schemas.openxmlformats.org/officeDocument/2006/relationships/image" Target="../media/image65.jpeg"/><Relationship Id="rId1" Type="http://schemas.openxmlformats.org/officeDocument/2006/relationships/vmlDrawing" Target="../drawings/vmlDrawing3.vml"/><Relationship Id="rId6" Type="http://schemas.openxmlformats.org/officeDocument/2006/relationships/image" Target="../media/image32.jpg"/><Relationship Id="rId11" Type="http://schemas.openxmlformats.org/officeDocument/2006/relationships/image" Target="../media/image37.png"/><Relationship Id="rId24" Type="http://schemas.openxmlformats.org/officeDocument/2006/relationships/image" Target="../media/image50.png"/><Relationship Id="rId32" Type="http://schemas.openxmlformats.org/officeDocument/2006/relationships/image" Target="../media/image58.png"/><Relationship Id="rId37" Type="http://schemas.openxmlformats.org/officeDocument/2006/relationships/image" Target="../media/image61.png"/><Relationship Id="rId40" Type="http://schemas.openxmlformats.org/officeDocument/2006/relationships/image" Target="../media/image64.png"/><Relationship Id="rId5" Type="http://schemas.openxmlformats.org/officeDocument/2006/relationships/image" Target="../media/image10.emf"/><Relationship Id="rId15" Type="http://schemas.openxmlformats.org/officeDocument/2006/relationships/image" Target="../media/image41.png"/><Relationship Id="rId23" Type="http://schemas.openxmlformats.org/officeDocument/2006/relationships/image" Target="../media/image49.png"/><Relationship Id="rId28" Type="http://schemas.openxmlformats.org/officeDocument/2006/relationships/image" Target="../media/image54.png"/><Relationship Id="rId36" Type="http://schemas.openxmlformats.org/officeDocument/2006/relationships/image" Target="../media/image60.png"/><Relationship Id="rId10" Type="http://schemas.openxmlformats.org/officeDocument/2006/relationships/image" Target="../media/image36.emf"/><Relationship Id="rId19" Type="http://schemas.openxmlformats.org/officeDocument/2006/relationships/image" Target="../media/image45.png"/><Relationship Id="rId31" Type="http://schemas.openxmlformats.org/officeDocument/2006/relationships/image" Target="../media/image5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5.png"/><Relationship Id="rId14" Type="http://schemas.openxmlformats.org/officeDocument/2006/relationships/image" Target="../media/image40.jpg"/><Relationship Id="rId22" Type="http://schemas.openxmlformats.org/officeDocument/2006/relationships/image" Target="../media/image48.png"/><Relationship Id="rId27" Type="http://schemas.openxmlformats.org/officeDocument/2006/relationships/image" Target="../media/image53.png"/><Relationship Id="rId30" Type="http://schemas.openxmlformats.org/officeDocument/2006/relationships/image" Target="../media/image56.png"/><Relationship Id="rId35" Type="http://schemas.openxmlformats.org/officeDocument/2006/relationships/hyperlink" Target="https://www.helloasso.com/associations/the-shift-project/collectes/le-shift-project-adresse-aux-pme-un-appel-a-dons-pour-son-ptef" TargetMode="External"/><Relationship Id="rId8" Type="http://schemas.openxmlformats.org/officeDocument/2006/relationships/image" Target="../media/image34.jpg"/><Relationship Id="rId3" Type="http://schemas.openxmlformats.org/officeDocument/2006/relationships/notesSlide" Target="../notesSlides/notesSlide4.xml"/><Relationship Id="rId12" Type="http://schemas.openxmlformats.org/officeDocument/2006/relationships/image" Target="../media/image38.png"/><Relationship Id="rId17" Type="http://schemas.openxmlformats.org/officeDocument/2006/relationships/image" Target="../media/image43.jpg"/><Relationship Id="rId25" Type="http://schemas.openxmlformats.org/officeDocument/2006/relationships/image" Target="../media/image51.png"/><Relationship Id="rId33" Type="http://schemas.openxmlformats.org/officeDocument/2006/relationships/image" Target="../media/image59.png"/><Relationship Id="rId38" Type="http://schemas.openxmlformats.org/officeDocument/2006/relationships/image" Target="../media/image6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514348" y="1843716"/>
            <a:ext cx="6007401" cy="3710796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fr-FR" sz="4400" dirty="0"/>
              <a:t>Transformer les territoires d’outremer</a:t>
            </a:r>
            <a:endParaRPr sz="4400" dirty="0"/>
          </a:p>
          <a:p>
            <a:pPr lvl="1">
              <a:spcAft>
                <a:spcPts val="1200"/>
              </a:spcAft>
              <a:defRPr/>
            </a:pPr>
            <a:r>
              <a:rPr lang="fr-FR" sz="2000" b="1" dirty="0"/>
              <a:t>Climat, crises : </a:t>
            </a:r>
            <a:br>
              <a:rPr lang="fr-FR" b="1" dirty="0"/>
            </a:br>
            <a:r>
              <a:rPr lang="fr-FR" sz="2000" b="1" dirty="0"/>
              <a:t>comment transformer nos territoires</a:t>
            </a:r>
          </a:p>
          <a:p>
            <a:pPr lvl="1">
              <a:spcAft>
                <a:spcPts val="1200"/>
              </a:spcAft>
              <a:defRPr/>
            </a:pPr>
            <a:endParaRPr dirty="0"/>
          </a:p>
          <a:p>
            <a:pPr lvl="2">
              <a:spcAft>
                <a:spcPts val="1200"/>
              </a:spcAft>
              <a:defRPr/>
            </a:pPr>
            <a:r>
              <a:rPr lang="fr-FR" dirty="0"/>
              <a:t>15 novembre 2022</a:t>
            </a:r>
            <a:endParaRPr dirty="0"/>
          </a:p>
          <a:p>
            <a:pPr lvl="2">
              <a:defRPr/>
            </a:pPr>
            <a:endParaRPr lang="fr-FR" dirty="0"/>
          </a:p>
          <a:p>
            <a:pPr lvl="2">
              <a:defRPr/>
            </a:pP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A874CAE-3ED6-48F1-BA08-E1B44E3AD0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4523" y="0"/>
            <a:ext cx="5017477" cy="648927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A57D9584-D6BA-4A9C-8F8F-0B1506405B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161" y="2434383"/>
            <a:ext cx="1601282" cy="1451552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B8126FAB-E099-40A5-9664-7129681655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6816" y="3349267"/>
            <a:ext cx="3488564" cy="2951325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CB2EF11D-413A-4EBF-8C70-D6891356DBC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3140968"/>
            <a:ext cx="3522668" cy="1532248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4DC0B762-CCB9-4CC2-B0B3-F1EBAAB849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6015" y="2881550"/>
            <a:ext cx="2432878" cy="3121738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F957EF0-DCDF-4AD1-A31D-ACA0EA0DEAEA}"/>
              </a:ext>
            </a:extLst>
          </p:cNvPr>
          <p:cNvSpPr txBox="1"/>
          <p:nvPr/>
        </p:nvSpPr>
        <p:spPr>
          <a:xfrm>
            <a:off x="8718585" y="1851315"/>
            <a:ext cx="26175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Plateforme Web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Shift </a:t>
            </a:r>
            <a:r>
              <a:rPr lang="fr-FR" sz="2000" b="1" i="1" dirty="0" err="1">
                <a:solidFill>
                  <a:schemeClr val="accent1"/>
                </a:solidFill>
              </a:rPr>
              <a:t>My</a:t>
            </a:r>
            <a:r>
              <a:rPr lang="fr-FR" sz="2000" b="1" i="1" dirty="0">
                <a:solidFill>
                  <a:schemeClr val="accent1"/>
                </a:solidFill>
              </a:rPr>
              <a:t> Town »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1305F01-83B0-434A-AE09-4D4C862E3AB6}"/>
              </a:ext>
            </a:extLst>
          </p:cNvPr>
          <p:cNvSpPr txBox="1"/>
          <p:nvPr/>
        </p:nvSpPr>
        <p:spPr>
          <a:xfrm>
            <a:off x="4523747" y="1481984"/>
            <a:ext cx="302679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2800" b="1" dirty="0">
              <a:solidFill>
                <a:schemeClr val="accent2"/>
              </a:solidFill>
            </a:endParaRPr>
          </a:p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Les cahier-poster 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Résilience des territoires »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00D2BAD7-B6DF-413E-A67A-65BFD50EF799}"/>
              </a:ext>
            </a:extLst>
          </p:cNvPr>
          <p:cNvSpPr txBox="1"/>
          <p:nvPr/>
        </p:nvSpPr>
        <p:spPr>
          <a:xfrm>
            <a:off x="529057" y="1882093"/>
            <a:ext cx="30267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accent1"/>
                </a:solidFill>
              </a:rPr>
              <a:t>Edition papier de la présente publication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3123296-9437-48F3-B61D-BC8193B6702C}"/>
              </a:ext>
            </a:extLst>
          </p:cNvPr>
          <p:cNvCxnSpPr>
            <a:cxnSpLocks/>
          </p:cNvCxnSpPr>
          <p:nvPr/>
        </p:nvCxnSpPr>
        <p:spPr>
          <a:xfrm>
            <a:off x="4007768" y="2070465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126B6541-D945-4F03-BECA-607162B62328}"/>
              </a:ext>
            </a:extLst>
          </p:cNvPr>
          <p:cNvCxnSpPr>
            <a:cxnSpLocks/>
          </p:cNvCxnSpPr>
          <p:nvPr/>
        </p:nvCxnSpPr>
        <p:spPr>
          <a:xfrm>
            <a:off x="8040216" y="2020592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743728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Une campagne à destination des élus locaux</a:t>
            </a:r>
            <a:b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Un kit d’alerte et de mobilisation</a:t>
            </a:r>
            <a:endParaRPr lang="fr-FR" sz="3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5048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1C10CB45-4625-4ABF-A18F-E2941D2341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73600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2862141"/>
            <a:ext cx="10833360" cy="1133718"/>
          </a:xfrm>
          <a:solidFill>
            <a:schemeClr val="bg1"/>
          </a:solidFill>
        </p:spPr>
        <p:txBody>
          <a:bodyPr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Transformer nos territoires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En tenant compte des spécificités des territoires</a:t>
            </a:r>
          </a:p>
        </p:txBody>
      </p:sp>
    </p:spTree>
    <p:extLst>
      <p:ext uri="{BB962C8B-B14F-4D97-AF65-F5344CB8AC3E}">
        <p14:creationId xmlns:p14="http://schemas.microsoft.com/office/powerpoint/2010/main" val="41435871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B84B54-6BA6-430C-AFE1-5AE51B459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4763C77-A8CB-45CB-A951-BDECFB3B7F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013" y="1953577"/>
            <a:ext cx="3933825" cy="2219325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24E24796-644D-473D-9750-5E616D563F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9151" y="470773"/>
            <a:ext cx="7603218" cy="5916454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F90FBE2F-A419-4F32-A666-06BEBD9E2C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94504"/>
            <a:ext cx="4938280" cy="923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6694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EB5392A-5FC8-439A-9CB7-E5B0838BE3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5" y="1105989"/>
            <a:ext cx="7706803" cy="4967786"/>
          </a:xfrm>
        </p:spPr>
        <p:txBody>
          <a:bodyPr/>
          <a:lstStyle/>
          <a:p>
            <a:endParaRPr lang="fr-FR" sz="36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Les enjeux de résilience territoriale</a:t>
            </a:r>
            <a:br>
              <a:rPr lang="fr-FR" sz="3600" dirty="0"/>
            </a:br>
            <a:r>
              <a:rPr lang="fr-FR" sz="3600" dirty="0"/>
              <a:t>liés à l’agriculture et l’alimentation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D6C0B3F4-1A60-4924-B805-4FA87BB3FE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86B74B-4D58-4933-A811-1F1C4083DC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C345C24-57FA-488E-A6DA-A9186C2D4F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03030" y="-9535"/>
            <a:ext cx="2688970" cy="649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0211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EFBC6DA-F49A-44F1-9B99-B6D670C19339}"/>
              </a:ext>
            </a:extLst>
          </p:cNvPr>
          <p:cNvSpPr txBox="1">
            <a:spLocks/>
          </p:cNvSpPr>
          <p:nvPr/>
        </p:nvSpPr>
        <p:spPr>
          <a:xfrm>
            <a:off x="502988" y="650764"/>
            <a:ext cx="7475600" cy="33590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i="0" u="none" strike="noStrike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Poppins-Bold" panose="00000800000000000000" pitchFamily="50" charset="0"/>
              </a:rPr>
              <a:t>L’extrême vulnérabilité de monocultures d’exportation fragilise les territoires</a:t>
            </a:r>
            <a:endParaRPr lang="fr-FR" sz="3200" b="0" dirty="0">
              <a:solidFill>
                <a:schemeClr val="accent6">
                  <a:lumMod val="60000"/>
                  <a:lumOff val="4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65894C-0E26-4613-853B-57C994CA95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4609" y="1625711"/>
            <a:ext cx="7077075" cy="4581525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C6D43D37-7F41-45D6-87C1-F9654A1D94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3030" y="-9535"/>
            <a:ext cx="2688970" cy="6492879"/>
          </a:xfrm>
          <a:prstGeom prst="rect">
            <a:avLst/>
          </a:prstGeom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FB1618A4-3828-45EB-9575-8E852A79797E}"/>
              </a:ext>
            </a:extLst>
          </p:cNvPr>
          <p:cNvSpPr/>
          <p:nvPr/>
        </p:nvSpPr>
        <p:spPr>
          <a:xfrm rot="18461511">
            <a:off x="3418105" y="2557569"/>
            <a:ext cx="1517660" cy="2335087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46A2293D-7E14-4FB5-B01D-F07842256EEF}"/>
              </a:ext>
            </a:extLst>
          </p:cNvPr>
          <p:cNvSpPr txBox="1"/>
          <p:nvPr/>
        </p:nvSpPr>
        <p:spPr>
          <a:xfrm>
            <a:off x="4701924" y="2677282"/>
            <a:ext cx="34660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rgbClr val="C00000"/>
                </a:solidFill>
              </a:rPr>
              <a:t>Cultures d’exportation</a:t>
            </a:r>
          </a:p>
        </p:txBody>
      </p:sp>
    </p:spTree>
    <p:extLst>
      <p:ext uri="{BB962C8B-B14F-4D97-AF65-F5344CB8AC3E}">
        <p14:creationId xmlns:p14="http://schemas.microsoft.com/office/powerpoint/2010/main" val="39013541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5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EFBC6DA-F49A-44F1-9B99-B6D670C19339}"/>
              </a:ext>
            </a:extLst>
          </p:cNvPr>
          <p:cNvSpPr txBox="1">
            <a:spLocks/>
          </p:cNvSpPr>
          <p:nvPr/>
        </p:nvSpPr>
        <p:spPr>
          <a:xfrm>
            <a:off x="502988" y="380818"/>
            <a:ext cx="8658429" cy="362902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i="0" u="none" strike="noStrike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Poppins-Bold" panose="00000800000000000000" pitchFamily="50" charset="0"/>
              </a:rPr>
              <a:t>La flambée des prix alimentaires menace la santé et la paix sociale</a:t>
            </a:r>
            <a:endParaRPr lang="fr-FR" sz="3200" b="0" dirty="0">
              <a:solidFill>
                <a:schemeClr val="accent6">
                  <a:lumMod val="60000"/>
                  <a:lumOff val="4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0AABE9C-C0B5-4411-821E-FD871E0374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1759" y="1478238"/>
            <a:ext cx="7324725" cy="4829175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F67C777B-6F0C-4BC1-8BBC-32CEBD0CDB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3030" y="-9535"/>
            <a:ext cx="2688970" cy="649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2471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6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EFBC6DA-F49A-44F1-9B99-B6D670C19339}"/>
              </a:ext>
            </a:extLst>
          </p:cNvPr>
          <p:cNvSpPr txBox="1">
            <a:spLocks/>
          </p:cNvSpPr>
          <p:nvPr/>
        </p:nvSpPr>
        <p:spPr>
          <a:xfrm>
            <a:off x="502988" y="380818"/>
            <a:ext cx="8658429" cy="362902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i="0" u="none" strike="noStrike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Poppins-Bold" panose="00000800000000000000" pitchFamily="50" charset="0"/>
              </a:rPr>
              <a:t>Le spectre d’une pénurie alimentaire</a:t>
            </a:r>
            <a:endParaRPr lang="fr-FR" sz="3200" b="0" dirty="0">
              <a:solidFill>
                <a:schemeClr val="accent6">
                  <a:lumMod val="60000"/>
                  <a:lumOff val="4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8A65862-E651-4DB8-8EAC-5F84C6AA13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988" y="1207536"/>
            <a:ext cx="8058150" cy="5123872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A50D95E-6D38-483D-A5C2-EB3A9311BC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3030" y="-9535"/>
            <a:ext cx="2688970" cy="6492879"/>
          </a:xfrm>
          <a:prstGeom prst="rect">
            <a:avLst/>
          </a:prstGeom>
        </p:spPr>
      </p:pic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D8F065AE-F22E-474F-B15F-7C970C3E2854}"/>
              </a:ext>
            </a:extLst>
          </p:cNvPr>
          <p:cNvCxnSpPr/>
          <p:nvPr/>
        </p:nvCxnSpPr>
        <p:spPr>
          <a:xfrm>
            <a:off x="5410200" y="2349500"/>
            <a:ext cx="0" cy="3022600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4">
            <a:extLst>
              <a:ext uri="{FF2B5EF4-FFF2-40B4-BE49-F238E27FC236}">
                <a16:creationId xmlns:a16="http://schemas.microsoft.com/office/drawing/2014/main" id="{CEE8340A-56FD-4589-B849-B41DD7326502}"/>
              </a:ext>
            </a:extLst>
          </p:cNvPr>
          <p:cNvSpPr txBox="1"/>
          <p:nvPr/>
        </p:nvSpPr>
        <p:spPr>
          <a:xfrm>
            <a:off x="4966809" y="1960375"/>
            <a:ext cx="8867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rgbClr val="C00000"/>
                </a:solidFill>
              </a:rPr>
              <a:t>50 %</a:t>
            </a:r>
          </a:p>
        </p:txBody>
      </p:sp>
    </p:spTree>
    <p:extLst>
      <p:ext uri="{BB962C8B-B14F-4D97-AF65-F5344CB8AC3E}">
        <p14:creationId xmlns:p14="http://schemas.microsoft.com/office/powerpoint/2010/main" val="24750073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4EC7ADEC-A77B-4383-A54F-5A281D4F8C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73600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7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2862141"/>
            <a:ext cx="10833360" cy="1133718"/>
          </a:xfrm>
          <a:solidFill>
            <a:schemeClr val="bg1"/>
          </a:solidFill>
        </p:spPr>
        <p:txBody>
          <a:bodyPr anchor="ctr"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Transformer nos territoires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En tenant compte des spécificités des territoires</a:t>
            </a:r>
          </a:p>
        </p:txBody>
      </p:sp>
      <p:sp>
        <p:nvSpPr>
          <p:cNvPr id="7" name="Espace réservé du texte 1">
            <a:extLst>
              <a:ext uri="{FF2B5EF4-FFF2-40B4-BE49-F238E27FC236}">
                <a16:creationId xmlns:a16="http://schemas.microsoft.com/office/drawing/2014/main" id="{42096A44-589B-4934-9055-1676C29DE88D}"/>
              </a:ext>
            </a:extLst>
          </p:cNvPr>
          <p:cNvSpPr txBox="1">
            <a:spLocks/>
          </p:cNvSpPr>
          <p:nvPr/>
        </p:nvSpPr>
        <p:spPr>
          <a:xfrm>
            <a:off x="388410" y="2862141"/>
            <a:ext cx="11415179" cy="113371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3600">
                <a:solidFill>
                  <a:schemeClr val="accent6">
                    <a:lumMod val="60000"/>
                    <a:lumOff val="40000"/>
                  </a:schemeClr>
                </a:solidFill>
              </a:rPr>
              <a:t>Transformer l’agriculture et l’alimentation</a:t>
            </a:r>
            <a:br>
              <a:rPr lang="fr-FR" sz="3600"/>
            </a:br>
            <a:r>
              <a:rPr lang="fr-FR" sz="3200"/>
              <a:t>pour la sécurité et le bien-être des habitants</a:t>
            </a:r>
            <a:endParaRPr lang="fr-FR" sz="3600" dirty="0"/>
          </a:p>
        </p:txBody>
      </p:sp>
    </p:spTree>
    <p:extLst>
      <p:ext uri="{BB962C8B-B14F-4D97-AF65-F5344CB8AC3E}">
        <p14:creationId xmlns:p14="http://schemas.microsoft.com/office/powerpoint/2010/main" val="11509507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8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1DA4208-04F2-4C86-ABD6-09EAFE15C071}"/>
              </a:ext>
            </a:extLst>
          </p:cNvPr>
          <p:cNvSpPr/>
          <p:nvPr/>
        </p:nvSpPr>
        <p:spPr>
          <a:xfrm>
            <a:off x="9698407" y="-6356"/>
            <a:ext cx="496389" cy="6489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D929A6E-D12B-4A55-9FE8-86A8213E3C74}"/>
              </a:ext>
            </a:extLst>
          </p:cNvPr>
          <p:cNvSpPr/>
          <p:nvPr/>
        </p:nvSpPr>
        <p:spPr>
          <a:xfrm>
            <a:off x="10711444" y="-6356"/>
            <a:ext cx="228387" cy="6489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47431C5-258D-41F4-90EF-A0B554A10868}"/>
              </a:ext>
            </a:extLst>
          </p:cNvPr>
          <p:cNvSpPr/>
          <p:nvPr/>
        </p:nvSpPr>
        <p:spPr>
          <a:xfrm>
            <a:off x="11168218" y="-6356"/>
            <a:ext cx="68105" cy="6489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Espace réservé du texte 6">
            <a:extLst>
              <a:ext uri="{FF2B5EF4-FFF2-40B4-BE49-F238E27FC236}">
                <a16:creationId xmlns:a16="http://schemas.microsoft.com/office/drawing/2014/main" id="{E0A2646D-3481-4DB0-8103-86AE37C8C892}"/>
              </a:ext>
            </a:extLst>
          </p:cNvPr>
          <p:cNvSpPr txBox="1">
            <a:spLocks/>
          </p:cNvSpPr>
          <p:nvPr/>
        </p:nvSpPr>
        <p:spPr>
          <a:xfrm>
            <a:off x="3704232" y="1399720"/>
            <a:ext cx="5477528" cy="43533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b="1" i="0" u="none" strike="noStrike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Poppins-SemiBold" panose="00000700000000000000" pitchFamily="50" charset="0"/>
              </a:rPr>
              <a:t>Sécuriser son alimentation en mangeant plus végétal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fr-FR" sz="18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Promouvoir une alimentation à dominante végétarienne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Accompagner le développement d’un élevage à l’herbe et l’utilisation des coproduits de culture plutôt que des cultures fourragères dédié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Lancer un plan de production locale de protéine végétale en valorisant les espèces autochtones</a:t>
            </a:r>
            <a:r>
              <a:rPr lang="fr-FR" sz="1800" b="1" i="0" u="none" strike="noStrike" baseline="0" dirty="0">
                <a:solidFill>
                  <a:srgbClr val="0028DD"/>
                </a:solidFill>
                <a:latin typeface="Poppins-SemiBold" panose="00000700000000000000" pitchFamily="50" charset="0"/>
              </a:rPr>
              <a:t>.</a:t>
            </a:r>
            <a:endParaRPr lang="fr-FR" sz="16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9EDD4B0-BDA1-47E5-B3CA-CB9D2DA47B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51254"/>
            <a:ext cx="3504530" cy="3008767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38A9DCF-F802-4AA6-8121-99592C7901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3030" y="-9535"/>
            <a:ext cx="2688970" cy="649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2996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id="{8FDCA259-6F2F-4493-B3E5-D9002806E956}"/>
              </a:ext>
            </a:extLst>
          </p:cNvPr>
          <p:cNvSpPr txBox="1">
            <a:spLocks/>
          </p:cNvSpPr>
          <p:nvPr/>
        </p:nvSpPr>
        <p:spPr>
          <a:xfrm>
            <a:off x="3664199" y="1463040"/>
            <a:ext cx="5784601" cy="470262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b="1" i="0" u="none" strike="noStrike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Poppins-SemiBold" panose="00000700000000000000" pitchFamily="50" charset="0"/>
              </a:rPr>
              <a:t>Réorienter la production agricole vers la consommation local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fr-FR" sz="18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Racheter des terres de plantations ou établir des partenariats avec les propriétaires pour l’installation de nouveaux agriculteurs locaux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Développer les capacités de transformation agroalimentaire local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Valoriser le foncier agricole en friche pour des activités de maraichage, concevoir une agroécologie urbaine innovante et promouvoir l’autoproduction auprès des citoyens.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35F42CFA-35C5-48A0-B082-D6D6F8AA4B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03030" y="-9535"/>
            <a:ext cx="2688970" cy="6492879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1ECB6E2E-7B35-4057-BD21-3CD63111F8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-20458"/>
            <a:ext cx="3147404" cy="3020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1946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7C39BC7-0CC9-4D43-8A61-D61FACB53C74}"/>
              </a:ext>
            </a:extLst>
          </p:cNvPr>
          <p:cNvSpPr/>
          <p:nvPr/>
        </p:nvSpPr>
        <p:spPr bwMode="auto">
          <a:xfrm>
            <a:off x="0" y="-9489"/>
            <a:ext cx="12223899" cy="16055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2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fr-FR" dirty="0">
                <a:solidFill>
                  <a:schemeClr val="bg2"/>
                </a:solidFill>
              </a:rPr>
              <a:t>Le </a:t>
            </a:r>
            <a:r>
              <a:rPr lang="fr-FR" b="1" dirty="0">
                <a:solidFill>
                  <a:schemeClr val="bg2"/>
                </a:solidFill>
              </a:rPr>
              <a:t>Shift</a:t>
            </a:r>
            <a:r>
              <a:rPr lang="fr-FR" dirty="0">
                <a:solidFill>
                  <a:schemeClr val="bg2"/>
                </a:solidFill>
              </a:rPr>
              <a:t>, c’est quoi ? </a:t>
            </a:r>
            <a:endParaRPr dirty="0">
              <a:solidFill>
                <a:schemeClr val="bg2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855200" y="2154873"/>
            <a:ext cx="7360925" cy="33833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The Shift Project est un </a:t>
            </a:r>
            <a:r>
              <a:rPr lang="fr-FR" sz="2800" b="1" dirty="0" err="1">
                <a:solidFill>
                  <a:srgbClr val="0028DC"/>
                </a:solidFill>
              </a:rPr>
              <a:t>think</a:t>
            </a:r>
            <a:r>
              <a:rPr lang="fr-FR" sz="2800" b="1" dirty="0">
                <a:solidFill>
                  <a:srgbClr val="0028DC"/>
                </a:solidFill>
              </a:rPr>
              <a:t> tank </a:t>
            </a:r>
            <a:r>
              <a:rPr lang="fr-FR" sz="2400" dirty="0">
                <a:solidFill>
                  <a:srgbClr val="00005A"/>
                </a:solidFill>
              </a:rPr>
              <a:t>qui œuvre en faveur de la </a:t>
            </a:r>
            <a:r>
              <a:rPr lang="fr-FR" sz="2800" b="1" dirty="0">
                <a:solidFill>
                  <a:srgbClr val="FF8200"/>
                </a:solidFill>
              </a:rPr>
              <a:t>décarbonation de l’économie</a:t>
            </a: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Nous sommes une association </a:t>
            </a:r>
            <a:r>
              <a:rPr lang="fr-FR" sz="2800" dirty="0">
                <a:solidFill>
                  <a:srgbClr val="00005A"/>
                </a:solidFill>
              </a:rPr>
              <a:t>d’</a:t>
            </a:r>
            <a:r>
              <a:rPr lang="fr-FR" sz="2800" b="1" dirty="0">
                <a:solidFill>
                  <a:srgbClr val="0028DC"/>
                </a:solidFill>
              </a:rPr>
              <a:t>intérêt général</a:t>
            </a:r>
            <a:r>
              <a:rPr lang="fr-FR" sz="2400" dirty="0">
                <a:solidFill>
                  <a:srgbClr val="0000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guidée par l’exigence de la </a:t>
            </a:r>
            <a:r>
              <a:rPr lang="fr-FR" sz="2800" b="1" dirty="0">
                <a:solidFill>
                  <a:srgbClr val="FF8200"/>
                </a:solidFill>
              </a:rPr>
              <a:t>rigueur scientifique</a:t>
            </a: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Notre mission est d’</a:t>
            </a:r>
            <a:r>
              <a:rPr lang="fr-FR" sz="2800" b="1" dirty="0">
                <a:solidFill>
                  <a:srgbClr val="FF8200"/>
                </a:solidFill>
              </a:rPr>
              <a:t>éclairer</a:t>
            </a:r>
            <a:r>
              <a:rPr lang="fr-FR" sz="3200" b="1" dirty="0">
                <a:solidFill>
                  <a:srgbClr val="FF82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et </a:t>
            </a:r>
            <a:r>
              <a:rPr lang="fr-FR" sz="2800" b="1" dirty="0">
                <a:solidFill>
                  <a:srgbClr val="FF8200"/>
                </a:solidFill>
              </a:rPr>
              <a:t>influencer</a:t>
            </a:r>
            <a:r>
              <a:rPr lang="fr-FR" sz="2000" dirty="0">
                <a:solidFill>
                  <a:srgbClr val="0000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le débat sur la</a:t>
            </a:r>
            <a:r>
              <a:rPr lang="fr-FR" sz="2400" dirty="0">
                <a:solidFill>
                  <a:srgbClr val="000000"/>
                </a:solidFill>
              </a:rPr>
              <a:t> </a:t>
            </a:r>
            <a:r>
              <a:rPr lang="fr-FR" sz="2800" b="1" dirty="0">
                <a:solidFill>
                  <a:srgbClr val="0028DC"/>
                </a:solidFill>
              </a:rPr>
              <a:t>transition énergétique</a:t>
            </a:r>
            <a:endParaRPr lang="fr-FR" sz="1600" dirty="0">
              <a:solidFill>
                <a:srgbClr val="000000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368342" y="4695857"/>
            <a:ext cx="871200" cy="8712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317614" y="2154874"/>
            <a:ext cx="872105" cy="872105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346817" y="3429333"/>
            <a:ext cx="871200" cy="87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8761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0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EFBC6DA-F49A-44F1-9B99-B6D670C19339}"/>
              </a:ext>
            </a:extLst>
          </p:cNvPr>
          <p:cNvSpPr txBox="1">
            <a:spLocks/>
          </p:cNvSpPr>
          <p:nvPr/>
        </p:nvSpPr>
        <p:spPr>
          <a:xfrm>
            <a:off x="3529585" y="1631852"/>
            <a:ext cx="5973446" cy="432037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b="1" i="0" u="none" strike="noStrike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Poppins-SemiBold" panose="00000700000000000000" pitchFamily="50" charset="0"/>
              </a:rPr>
              <a:t>Généraliser des pratiques agroécologiques adaptées au climat et aux sol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fr-FR" sz="18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Promouvoir les pratiques agroécologiques adaptées au climat et aux sols via la commande publiqu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Mettre en place un plan de formation à l’agroécologie des exploitants agricol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Communiquer auprès des agriculteurs sur les évolutions climatiques! et les solutions d’adaptation à mettre en œuvre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C17DE19-7454-4A7B-B3D2-0508E5B7E8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679" y="47626"/>
            <a:ext cx="2948387" cy="296509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48CD57EF-DDA9-4AB7-93E3-B201725A94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3030" y="-9535"/>
            <a:ext cx="2688970" cy="649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350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372F4554-BCB8-45B9-8C9F-2B2000F4DF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73600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1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0" y="2862141"/>
            <a:ext cx="11415179" cy="795459"/>
          </a:xfrm>
          <a:solidFill>
            <a:schemeClr val="bg1"/>
          </a:solidFill>
        </p:spPr>
        <p:txBody>
          <a:bodyPr anchor="ctr"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Une nécessité de transformer toutes les politiques</a:t>
            </a:r>
          </a:p>
        </p:txBody>
      </p:sp>
    </p:spTree>
    <p:extLst>
      <p:ext uri="{BB962C8B-B14F-4D97-AF65-F5344CB8AC3E}">
        <p14:creationId xmlns:p14="http://schemas.microsoft.com/office/powerpoint/2010/main" val="17287843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 22">
            <a:extLst>
              <a:ext uri="{FF2B5EF4-FFF2-40B4-BE49-F238E27FC236}">
                <a16:creationId xmlns:a16="http://schemas.microsoft.com/office/drawing/2014/main" id="{EB4B61A4-394B-49FD-AD0C-7345BCFBF4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0382" y="2070100"/>
            <a:ext cx="6400445" cy="4413243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809897"/>
            <a:ext cx="6740434" cy="42188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Urbanisme-aménagement</a:t>
            </a:r>
          </a:p>
          <a:p>
            <a:pPr algn="l"/>
            <a:r>
              <a:rPr lang="fr-FR" dirty="0"/>
              <a:t>Résorber l’insalubrité </a:t>
            </a:r>
            <a:br>
              <a:rPr lang="fr-FR" dirty="0"/>
            </a:br>
            <a:r>
              <a:rPr lang="fr-FR" dirty="0"/>
              <a:t>sans artificialiser davantag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E74F64CC-55F2-4248-8D7C-EEDA51F186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78037" y="1"/>
            <a:ext cx="2913963" cy="3216276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51C1F534-F0E9-422C-97A5-DD1C67AF25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2477193" cy="6486522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33C349C8-6566-43F2-9DDD-9E96FAA357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78037" y="3203303"/>
            <a:ext cx="2909639" cy="284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5467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3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1000663"/>
            <a:ext cx="7918994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Economie locale</a:t>
            </a:r>
          </a:p>
          <a:p>
            <a:pPr lvl="1"/>
            <a:r>
              <a:rPr lang="fr-FR" b="1" dirty="0"/>
              <a:t>Limiter la demande alimentaire du tourisme </a:t>
            </a:r>
            <a:br>
              <a:rPr lang="fr-FR" b="1" dirty="0"/>
            </a:br>
            <a:r>
              <a:rPr lang="fr-FR" b="1" dirty="0"/>
              <a:t>et de biomasse pour la production d’énergi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F041295-7CA7-4CDA-987E-7138D278DE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0445" y="2659303"/>
            <a:ext cx="3438525" cy="338137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6A8A338-0FDE-4692-B6D8-9EA9FFF11F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89860" y="2861355"/>
            <a:ext cx="3571875" cy="3400425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C28900D3-B14B-4FB3-A1EA-B2B87FE091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2477193" cy="648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044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455A2FC7-3852-4897-B500-B17EF25B61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1033" y="2626179"/>
            <a:ext cx="7038184" cy="3848021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4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1000663"/>
            <a:ext cx="6907640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Economie locale</a:t>
            </a:r>
          </a:p>
          <a:p>
            <a:pPr lvl="1"/>
            <a:r>
              <a:rPr lang="fr-FR" b="1" dirty="0"/>
              <a:t>Les biodéchets : une bombe climatique,</a:t>
            </a:r>
            <a:br>
              <a:rPr lang="fr-FR" b="1" dirty="0"/>
            </a:br>
            <a:r>
              <a:rPr lang="fr-FR" b="1" dirty="0"/>
              <a:t>un gisement inexploité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6D49188-184E-4B62-9D4A-4B649D74C9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88490" y="0"/>
            <a:ext cx="3324225" cy="3190875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C28900D3-B14B-4FB3-A1EA-B2B87FE091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2477193" cy="6486522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32DA5628-36A5-468E-928E-06516477C085}"/>
              </a:ext>
            </a:extLst>
          </p:cNvPr>
          <p:cNvSpPr txBox="1"/>
          <p:nvPr/>
        </p:nvSpPr>
        <p:spPr>
          <a:xfrm>
            <a:off x="9500967" y="3429000"/>
            <a:ext cx="23984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accent6">
                    <a:lumMod val="75000"/>
                  </a:schemeClr>
                </a:solidFill>
              </a:rPr>
              <a:t>~ X 3 en 30 ans</a:t>
            </a:r>
          </a:p>
        </p:txBody>
      </p:sp>
    </p:spTree>
    <p:extLst>
      <p:ext uri="{BB962C8B-B14F-4D97-AF65-F5344CB8AC3E}">
        <p14:creationId xmlns:p14="http://schemas.microsoft.com/office/powerpoint/2010/main" val="41956557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5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879893"/>
            <a:ext cx="8573996" cy="41488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Mobilité</a:t>
            </a:r>
            <a:endParaRPr lang="fr-FR" sz="14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lvl="1"/>
            <a:r>
              <a:rPr lang="fr-FR" b="1" dirty="0"/>
              <a:t>Développer la mobilité bas-carbone </a:t>
            </a:r>
            <a:br>
              <a:rPr lang="fr-FR" b="1" dirty="0"/>
            </a:br>
            <a:r>
              <a:rPr lang="fr-FR" b="1" dirty="0"/>
              <a:t>pour libérer les ménages du poids du pétrol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22B5528-AA11-4914-B5CA-76B321ABCF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0329" y="2577188"/>
            <a:ext cx="3495675" cy="33432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A1E6D77-39A4-4FE1-88E0-0B8D5D82F3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4756" y="2377164"/>
            <a:ext cx="3629025" cy="3743325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81D5D384-5D05-4632-A3C2-5F0A646BAA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2477193" cy="648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7295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6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879893"/>
            <a:ext cx="8573996" cy="41488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Mobilité</a:t>
            </a:r>
            <a:endParaRPr lang="fr-FR" sz="14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algn="l"/>
            <a:r>
              <a:rPr lang="fr-FR" dirty="0"/>
              <a:t>Adapter les ports</a:t>
            </a:r>
            <a:br>
              <a:rPr lang="fr-FR" dirty="0"/>
            </a:br>
            <a:r>
              <a:rPr lang="fr-FR" dirty="0"/>
              <a:t>au changement climatique et à la contrainte carbon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AB0CF576-4EBD-4B84-8BFD-1C8AB557B1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8837" y="2526882"/>
            <a:ext cx="3419475" cy="3552825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81D5D384-5D05-4632-A3C2-5F0A646BAA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2477193" cy="648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6913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CBB6A94A-E329-462A-B712-E7FA3E0A80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8689" y="1504082"/>
            <a:ext cx="1677273" cy="1440000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ADB8C33A-58F4-46CE-A893-DDB11D179A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2584" y="3165478"/>
            <a:ext cx="1500335" cy="1440000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495858E4-BA91-444F-910E-3C730CDF03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1687" y="3068442"/>
            <a:ext cx="1431887" cy="1440000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7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DCDE9713-E99F-4FD6-ACBC-43069619DB93}"/>
              </a:ext>
            </a:extLst>
          </p:cNvPr>
          <p:cNvSpPr txBox="1"/>
          <p:nvPr/>
        </p:nvSpPr>
        <p:spPr>
          <a:xfrm>
            <a:off x="7744323" y="1027366"/>
            <a:ext cx="11453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Mobilité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BE1564C9-059E-4E4D-A83B-0031CBD86F3E}"/>
              </a:ext>
            </a:extLst>
          </p:cNvPr>
          <p:cNvSpPr txBox="1"/>
          <p:nvPr/>
        </p:nvSpPr>
        <p:spPr>
          <a:xfrm>
            <a:off x="-64583" y="1148910"/>
            <a:ext cx="1903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Economie locale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985FCD78-A2EB-4F86-829F-BD4A6EE212D4}"/>
              </a:ext>
            </a:extLst>
          </p:cNvPr>
          <p:cNvSpPr txBox="1"/>
          <p:nvPr/>
        </p:nvSpPr>
        <p:spPr>
          <a:xfrm>
            <a:off x="2968768" y="6120368"/>
            <a:ext cx="36148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Urbanisme - Aménagement</a:t>
            </a:r>
          </a:p>
        </p:txBody>
      </p:sp>
      <p:sp>
        <p:nvSpPr>
          <p:cNvPr id="5" name="Flèche : courbe vers le haut 4">
            <a:extLst>
              <a:ext uri="{FF2B5EF4-FFF2-40B4-BE49-F238E27FC236}">
                <a16:creationId xmlns:a16="http://schemas.microsoft.com/office/drawing/2014/main" id="{9501CEA2-A187-4DB9-85AB-06B8B97B6D90}"/>
              </a:ext>
            </a:extLst>
          </p:cNvPr>
          <p:cNvSpPr/>
          <p:nvPr/>
        </p:nvSpPr>
        <p:spPr>
          <a:xfrm rot="3090378">
            <a:off x="410861" y="4094908"/>
            <a:ext cx="3104886" cy="998994"/>
          </a:xfrm>
          <a:prstGeom prst="curvedUp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2" name="Flèche : courbe vers le haut 41">
            <a:extLst>
              <a:ext uri="{FF2B5EF4-FFF2-40B4-BE49-F238E27FC236}">
                <a16:creationId xmlns:a16="http://schemas.microsoft.com/office/drawing/2014/main" id="{B36546D4-1FBD-4609-A786-F231310967A7}"/>
              </a:ext>
            </a:extLst>
          </p:cNvPr>
          <p:cNvSpPr/>
          <p:nvPr/>
        </p:nvSpPr>
        <p:spPr>
          <a:xfrm rot="18070709">
            <a:off x="6025401" y="3895566"/>
            <a:ext cx="3104886" cy="998994"/>
          </a:xfrm>
          <a:prstGeom prst="curvedUp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3" name="Flèche : courbe vers le haut 42">
            <a:extLst>
              <a:ext uri="{FF2B5EF4-FFF2-40B4-BE49-F238E27FC236}">
                <a16:creationId xmlns:a16="http://schemas.microsoft.com/office/drawing/2014/main" id="{323B9E63-52AC-42E0-860A-DF8FE82544FF}"/>
              </a:ext>
            </a:extLst>
          </p:cNvPr>
          <p:cNvSpPr/>
          <p:nvPr/>
        </p:nvSpPr>
        <p:spPr>
          <a:xfrm rot="10979814">
            <a:off x="3256721" y="448483"/>
            <a:ext cx="3104886" cy="998994"/>
          </a:xfrm>
          <a:prstGeom prst="curvedUp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BE0612A7-A98C-4B62-A239-3D10718646D4}"/>
              </a:ext>
            </a:extLst>
          </p:cNvPr>
          <p:cNvSpPr txBox="1"/>
          <p:nvPr/>
        </p:nvSpPr>
        <p:spPr>
          <a:xfrm>
            <a:off x="3544968" y="2967335"/>
            <a:ext cx="22481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Se nourrir</a:t>
            </a:r>
          </a:p>
        </p:txBody>
      </p:sp>
      <p:pic>
        <p:nvPicPr>
          <p:cNvPr id="36" name="Image 35">
            <a:extLst>
              <a:ext uri="{FF2B5EF4-FFF2-40B4-BE49-F238E27FC236}">
                <a16:creationId xmlns:a16="http://schemas.microsoft.com/office/drawing/2014/main" id="{7EBA8992-3D3E-484E-84EE-2FEDBE2844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02732" y="5024709"/>
            <a:ext cx="978486" cy="1080000"/>
          </a:xfrm>
          <a:prstGeom prst="rect">
            <a:avLst/>
          </a:prstGeom>
        </p:spPr>
      </p:pic>
      <p:pic>
        <p:nvPicPr>
          <p:cNvPr id="39" name="Image 38">
            <a:extLst>
              <a:ext uri="{FF2B5EF4-FFF2-40B4-BE49-F238E27FC236}">
                <a16:creationId xmlns:a16="http://schemas.microsoft.com/office/drawing/2014/main" id="{DA224E49-27D2-4380-B67B-1F789E3602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79547" y="5082353"/>
            <a:ext cx="1104615" cy="1080000"/>
          </a:xfrm>
          <a:prstGeom prst="rect">
            <a:avLst/>
          </a:prstGeom>
        </p:spPr>
      </p:pic>
      <p:pic>
        <p:nvPicPr>
          <p:cNvPr id="40" name="Image 39">
            <a:extLst>
              <a:ext uri="{FF2B5EF4-FFF2-40B4-BE49-F238E27FC236}">
                <a16:creationId xmlns:a16="http://schemas.microsoft.com/office/drawing/2014/main" id="{49A38A57-B2D2-48B6-9FAE-385B05647F6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96409" y="1687170"/>
            <a:ext cx="1125134" cy="1080000"/>
          </a:xfrm>
          <a:prstGeom prst="rect">
            <a:avLst/>
          </a:prstGeom>
        </p:spPr>
      </p:pic>
      <p:pic>
        <p:nvPicPr>
          <p:cNvPr id="41" name="Image 40">
            <a:extLst>
              <a:ext uri="{FF2B5EF4-FFF2-40B4-BE49-F238E27FC236}">
                <a16:creationId xmlns:a16="http://schemas.microsoft.com/office/drawing/2014/main" id="{44E2D5AC-6E0C-40D5-B587-A8DAA72B9D2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49098" y="556499"/>
            <a:ext cx="1098254" cy="1080000"/>
          </a:xfrm>
          <a:prstGeom prst="rect">
            <a:avLst/>
          </a:prstGeom>
        </p:spPr>
      </p:pic>
      <p:pic>
        <p:nvPicPr>
          <p:cNvPr id="45" name="Image 44">
            <a:extLst>
              <a:ext uri="{FF2B5EF4-FFF2-40B4-BE49-F238E27FC236}">
                <a16:creationId xmlns:a16="http://schemas.microsoft.com/office/drawing/2014/main" id="{92880332-C1F4-4250-9DBB-7484D9E53C0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4442" y="1998049"/>
            <a:ext cx="1134454" cy="1080000"/>
          </a:xfrm>
          <a:prstGeom prst="rect">
            <a:avLst/>
          </a:prstGeom>
        </p:spPr>
      </p:pic>
      <p:pic>
        <p:nvPicPr>
          <p:cNvPr id="46" name="Image 45">
            <a:extLst>
              <a:ext uri="{FF2B5EF4-FFF2-40B4-BE49-F238E27FC236}">
                <a16:creationId xmlns:a16="http://schemas.microsoft.com/office/drawing/2014/main" id="{ECF32926-6BAD-4C60-9ADB-6F7D0BF315D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47622" y="368001"/>
            <a:ext cx="1129231" cy="1080000"/>
          </a:xfrm>
          <a:prstGeom prst="rect">
            <a:avLst/>
          </a:prstGeom>
        </p:spPr>
      </p:pic>
      <p:pic>
        <p:nvPicPr>
          <p:cNvPr id="47" name="Image 46">
            <a:extLst>
              <a:ext uri="{FF2B5EF4-FFF2-40B4-BE49-F238E27FC236}">
                <a16:creationId xmlns:a16="http://schemas.microsoft.com/office/drawing/2014/main" id="{B89002E6-5407-4300-9AE9-3C13AB37BBB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47967" y="1498672"/>
            <a:ext cx="1047023" cy="1080000"/>
          </a:xfrm>
          <a:prstGeom prst="rect">
            <a:avLst/>
          </a:prstGeom>
        </p:spPr>
      </p:pic>
      <p:pic>
        <p:nvPicPr>
          <p:cNvPr id="48" name="Image 47">
            <a:extLst>
              <a:ext uri="{FF2B5EF4-FFF2-40B4-BE49-F238E27FC236}">
                <a16:creationId xmlns:a16="http://schemas.microsoft.com/office/drawing/2014/main" id="{9CAD4740-BAFA-47B5-973C-35B54D33D27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089391" y="1647960"/>
            <a:ext cx="1039464" cy="1080000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EC7CAC0E-CD55-4F08-91E5-1C9F40420A1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503030" y="-9535"/>
            <a:ext cx="2688970" cy="649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9381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8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1325061" y="252663"/>
            <a:ext cx="7078787" cy="472394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8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inq principes d’actions</a:t>
            </a:r>
            <a:endParaRPr lang="fr-FR" sz="18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3EE65855-AF1E-414B-9A48-33A9863D4E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6654" y="1030862"/>
            <a:ext cx="2285948" cy="2160000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CCD362B5-2A00-4477-AF7C-D6B76583C6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9621" y="3786643"/>
            <a:ext cx="2199907" cy="2160000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EEB33662-24B9-4A2D-B767-EFB461E9A8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5198" y="3680666"/>
            <a:ext cx="2130070" cy="2160000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F9BBBA89-2C23-4481-8FCA-97F697C43A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93680" y="944073"/>
            <a:ext cx="2473469" cy="2160000"/>
          </a:xfrm>
          <a:prstGeom prst="rect">
            <a:avLst/>
          </a:prstGeom>
        </p:spPr>
      </p:pic>
      <p:pic>
        <p:nvPicPr>
          <p:cNvPr id="38" name="Image 37">
            <a:extLst>
              <a:ext uri="{FF2B5EF4-FFF2-40B4-BE49-F238E27FC236}">
                <a16:creationId xmlns:a16="http://schemas.microsoft.com/office/drawing/2014/main" id="{62758A36-D9D2-4EA4-9FAE-9C159CFEE7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5838" y="879156"/>
            <a:ext cx="2427066" cy="2504269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A0693680-78CD-4DB1-A3CB-5CB8A18E431F}"/>
              </a:ext>
            </a:extLst>
          </p:cNvPr>
          <p:cNvSpPr txBox="1"/>
          <p:nvPr/>
        </p:nvSpPr>
        <p:spPr>
          <a:xfrm>
            <a:off x="357142" y="3136997"/>
            <a:ext cx="24630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Arrêter d’aggraver le problèm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C733291-0C44-4DD6-B2F9-7B0211CB0629}"/>
              </a:ext>
            </a:extLst>
          </p:cNvPr>
          <p:cNvSpPr txBox="1"/>
          <p:nvPr/>
        </p:nvSpPr>
        <p:spPr>
          <a:xfrm>
            <a:off x="3583832" y="3112470"/>
            <a:ext cx="2340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Commencer par ce qui prend du temp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15E66C1-04AC-4D8D-9B0C-6C0663758B06}"/>
              </a:ext>
            </a:extLst>
          </p:cNvPr>
          <p:cNvSpPr txBox="1"/>
          <p:nvPr/>
        </p:nvSpPr>
        <p:spPr>
          <a:xfrm>
            <a:off x="6522504" y="3131046"/>
            <a:ext cx="299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Maximiser l’efficacité et les </a:t>
            </a:r>
            <a:r>
              <a:rPr lang="fr-FR" b="1" dirty="0" err="1"/>
              <a:t>co</a:t>
            </a:r>
            <a:r>
              <a:rPr lang="fr-FR" b="1" dirty="0"/>
              <a:t>-bénéfic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4D484D2-691A-4787-B5C6-2E3EBBF110E7}"/>
              </a:ext>
            </a:extLst>
          </p:cNvPr>
          <p:cNvSpPr txBox="1"/>
          <p:nvPr/>
        </p:nvSpPr>
        <p:spPr>
          <a:xfrm>
            <a:off x="742528" y="5738004"/>
            <a:ext cx="43922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Privilégier les liens de coopération et la contribution aux objectifs partagés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34CE754-E0BA-41CC-8FDD-52A03B8A1C8F}"/>
              </a:ext>
            </a:extLst>
          </p:cNvPr>
          <p:cNvSpPr txBox="1"/>
          <p:nvPr/>
        </p:nvSpPr>
        <p:spPr>
          <a:xfrm>
            <a:off x="5751164" y="5888345"/>
            <a:ext cx="3422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ym typeface="Wingdings" panose="05000000000000000000" pitchFamily="2" charset="2"/>
              </a:rPr>
              <a:t>Prendre appui sur les crises</a:t>
            </a:r>
            <a:endParaRPr lang="fr-FR" b="1" dirty="0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1150CF12-4177-4C10-BFA9-F1F273739B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03030" y="-9535"/>
            <a:ext cx="2688970" cy="649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5387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659319" y="1484784"/>
            <a:ext cx="5796721" cy="2695330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fr-FR" sz="4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hanger de trajectoire</a:t>
            </a:r>
          </a:p>
          <a:p>
            <a:pPr>
              <a:spcAft>
                <a:spcPts val="1200"/>
              </a:spcAft>
              <a:defRPr/>
            </a:pPr>
            <a:r>
              <a:rPr lang="fr-FR" sz="4000" dirty="0"/>
              <a:t>Avant la fin du mandat</a:t>
            </a:r>
          </a:p>
          <a:p>
            <a:pPr lvl="2">
              <a:defRPr/>
            </a:pP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E8F6CA1-68AA-4307-9B85-7F2A23B2CD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6120" y="1268760"/>
            <a:ext cx="4689927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2105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ABA7EC36-5707-4B48-A3DE-DF1A401C297E}"/>
              </a:ext>
            </a:extLst>
          </p:cNvPr>
          <p:cNvSpPr/>
          <p:nvPr/>
        </p:nvSpPr>
        <p:spPr bwMode="auto">
          <a:xfrm>
            <a:off x="0" y="-9489"/>
            <a:ext cx="12223899" cy="16055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t 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2" name="Objet 1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 vert="horz">
            <a:noAutofit/>
          </a:bodyPr>
          <a:lstStyle/>
          <a:p>
            <a:pPr>
              <a:defRPr/>
            </a:pPr>
            <a:r>
              <a:rPr lang="fr-FR" b="1" dirty="0">
                <a:solidFill>
                  <a:schemeClr val="bg2"/>
                </a:solidFill>
              </a:rPr>
              <a:t>Comment ?   </a:t>
            </a:r>
            <a:endParaRPr dirty="0">
              <a:solidFill>
                <a:schemeClr val="bg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 bwMode="auto">
          <a:xfrm>
            <a:off x="2809210" y="3018494"/>
            <a:ext cx="2547981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groupes de travail </a:t>
            </a:r>
            <a:r>
              <a:rPr lang="fr-FR" sz="1400" i="1" dirty="0">
                <a:solidFill>
                  <a:srgbClr val="00005A"/>
                </a:solidFill>
              </a:rPr>
              <a:t>mobilisant un réseau de </a:t>
            </a:r>
            <a:r>
              <a:rPr lang="fr-FR" sz="1600" b="1" i="1" dirty="0">
                <a:solidFill>
                  <a:srgbClr val="0028DC"/>
                </a:solidFill>
              </a:rPr>
              <a:t>centaines d’exper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62" name="TextBox 61"/>
          <p:cNvSpPr txBox="1"/>
          <p:nvPr/>
        </p:nvSpPr>
        <p:spPr bwMode="auto">
          <a:xfrm>
            <a:off x="5770193" y="3018494"/>
            <a:ext cx="3065113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>
                <a:solidFill>
                  <a:srgbClr val="00005A"/>
                </a:solidFill>
              </a:rPr>
              <a:t>Une </a:t>
            </a:r>
            <a:r>
              <a:rPr lang="fr-FR" sz="1600" b="1" i="1">
                <a:solidFill>
                  <a:srgbClr val="FF8200"/>
                </a:solidFill>
              </a:rPr>
              <a:t>vision physique de l’économie</a:t>
            </a:r>
            <a:endParaRPr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fr-FR" sz="1400" i="1">
                <a:solidFill>
                  <a:srgbClr val="00005A"/>
                </a:solidFill>
              </a:rPr>
              <a:t>Des propositions</a:t>
            </a:r>
            <a:r>
              <a:rPr lang="fr-FR" sz="1600" b="1" i="1">
                <a:solidFill>
                  <a:srgbClr val="0028DC"/>
                </a:solidFill>
              </a:rPr>
              <a:t> pragmatiques et concrètes </a:t>
            </a:r>
            <a:r>
              <a:rPr lang="fr-FR" sz="1400" i="1">
                <a:solidFill>
                  <a:srgbClr val="00005A"/>
                </a:solidFill>
              </a:rPr>
              <a:t>qui ne parient pas sur des technologies miracles</a:t>
            </a:r>
            <a:endParaRPr>
              <a:solidFill>
                <a:srgbClr val="000000"/>
              </a:solidFill>
            </a:endParaRPr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oleObj" r:id="rId6" imgW="0" imgH="0" progId="TCLayout.ActiveDocument.1">
                  <p:embed/>
                </p:oleObj>
              </mc:Choice>
              <mc:Fallback>
                <p:oleObj name="oleObj" r:id="rId6" imgW="0" imgH="0" progId="TCLayout.ActiveDocument.1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7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Image 28" descr="Une image contenant texte, jouet, graphiques vectoriels, poupée&#10;&#10;Description générée automatiquement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3613973" y="2017690"/>
            <a:ext cx="900000" cy="900000"/>
          </a:xfrm>
          <a:prstGeom prst="rect">
            <a:avLst/>
          </a:prstGeom>
        </p:spPr>
      </p:pic>
      <p:pic>
        <p:nvPicPr>
          <p:cNvPr id="30" name="Image 29"/>
          <p:cNvPicPr>
            <a:picLocks noChangeAspect="1"/>
          </p:cNvPicPr>
          <p:nvPr/>
        </p:nvPicPr>
        <p:blipFill>
          <a:blip r:embed="rId9"/>
          <a:stretch/>
        </p:blipFill>
        <p:spPr bwMode="auto">
          <a:xfrm>
            <a:off x="9885001" y="2017690"/>
            <a:ext cx="900000" cy="900000"/>
          </a:xfrm>
          <a:prstGeom prst="rect">
            <a:avLst/>
          </a:prstGeom>
        </p:spPr>
      </p:pic>
      <p:pic>
        <p:nvPicPr>
          <p:cNvPr id="31" name="Image 30"/>
          <p:cNvPicPr>
            <a:picLocks noChangeAspect="1"/>
          </p:cNvPicPr>
          <p:nvPr/>
        </p:nvPicPr>
        <p:blipFill>
          <a:blip r:embed="rId10"/>
          <a:stretch/>
        </p:blipFill>
        <p:spPr bwMode="auto">
          <a:xfrm>
            <a:off x="6831248" y="2017690"/>
            <a:ext cx="900000" cy="900000"/>
          </a:xfrm>
          <a:prstGeom prst="rect">
            <a:avLst/>
          </a:prstGeom>
        </p:spPr>
      </p:pic>
      <p:pic>
        <p:nvPicPr>
          <p:cNvPr id="32" name="Image 31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3613973" y="4161227"/>
            <a:ext cx="900000" cy="900000"/>
          </a:xfrm>
          <a:prstGeom prst="rect">
            <a:avLst/>
          </a:prstGeom>
        </p:spPr>
      </p:pic>
      <p:pic>
        <p:nvPicPr>
          <p:cNvPr id="33" name="Image 32"/>
          <p:cNvPicPr>
            <a:picLocks noChangeAspect="1"/>
          </p:cNvPicPr>
          <p:nvPr/>
        </p:nvPicPr>
        <p:blipFill>
          <a:blip r:embed="rId12"/>
          <a:stretch/>
        </p:blipFill>
        <p:spPr bwMode="auto">
          <a:xfrm>
            <a:off x="6727124" y="4361897"/>
            <a:ext cx="900000" cy="900000"/>
          </a:xfrm>
          <a:prstGeom prst="rect">
            <a:avLst/>
          </a:prstGeom>
        </p:spPr>
      </p:pic>
      <p:pic>
        <p:nvPicPr>
          <p:cNvPr id="34" name="Image 33"/>
          <p:cNvPicPr>
            <a:picLocks noChangeAspect="1"/>
          </p:cNvPicPr>
          <p:nvPr/>
        </p:nvPicPr>
        <p:blipFill>
          <a:blip r:embed="rId13"/>
          <a:stretch/>
        </p:blipFill>
        <p:spPr bwMode="auto">
          <a:xfrm>
            <a:off x="9840275" y="4161227"/>
            <a:ext cx="900000" cy="900000"/>
          </a:xfrm>
          <a:prstGeom prst="rect">
            <a:avLst/>
          </a:prstGeom>
        </p:spPr>
      </p:pic>
      <p:grpSp>
        <p:nvGrpSpPr>
          <p:cNvPr id="63" name="Group 41"/>
          <p:cNvGrpSpPr/>
          <p:nvPr/>
        </p:nvGrpSpPr>
        <p:grpSpPr bwMode="auto">
          <a:xfrm>
            <a:off x="2286969" y="2178441"/>
            <a:ext cx="370612" cy="1737345"/>
            <a:chOff x="1936104" y="3139817"/>
            <a:chExt cx="108789" cy="148942"/>
          </a:xfrm>
        </p:grpSpPr>
        <p:sp>
          <p:nvSpPr>
            <p:cNvPr id="66" name="Freeform 51"/>
            <p:cNvSpPr/>
            <p:nvPr/>
          </p:nvSpPr>
          <p:spPr bwMode="auto">
            <a:xfrm>
              <a:off x="1962298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  <p:sp>
          <p:nvSpPr>
            <p:cNvPr id="67" name="Freeform 51"/>
            <p:cNvSpPr/>
            <p:nvPr/>
          </p:nvSpPr>
          <p:spPr bwMode="auto">
            <a:xfrm>
              <a:off x="1936104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</p:grpSp>
      <p:grpSp>
        <p:nvGrpSpPr>
          <p:cNvPr id="82" name="Group 41"/>
          <p:cNvGrpSpPr/>
          <p:nvPr/>
        </p:nvGrpSpPr>
        <p:grpSpPr bwMode="auto">
          <a:xfrm>
            <a:off x="2286969" y="4333983"/>
            <a:ext cx="370612" cy="1737345"/>
            <a:chOff x="1936104" y="3139817"/>
            <a:chExt cx="108789" cy="148942"/>
          </a:xfrm>
        </p:grpSpPr>
        <p:sp>
          <p:nvSpPr>
            <p:cNvPr id="83" name="Freeform 51"/>
            <p:cNvSpPr/>
            <p:nvPr/>
          </p:nvSpPr>
          <p:spPr bwMode="auto">
            <a:xfrm>
              <a:off x="1962298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  <p:sp>
          <p:nvSpPr>
            <p:cNvPr id="84" name="Freeform 51"/>
            <p:cNvSpPr/>
            <p:nvPr/>
          </p:nvSpPr>
          <p:spPr bwMode="auto">
            <a:xfrm>
              <a:off x="1936104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</p:grpSp>
      <p:sp>
        <p:nvSpPr>
          <p:cNvPr id="85" name="TextBox 19"/>
          <p:cNvSpPr txBox="1"/>
          <p:nvPr/>
        </p:nvSpPr>
        <p:spPr bwMode="auto">
          <a:xfrm>
            <a:off x="38093" y="3326271"/>
            <a:ext cx="23007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2400" b="1" dirty="0">
                <a:solidFill>
                  <a:srgbClr val="FF8200"/>
                </a:solidFill>
              </a:rPr>
              <a:t>Éclaire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7" name="TextBox 20"/>
          <p:cNvSpPr txBox="1"/>
          <p:nvPr/>
        </p:nvSpPr>
        <p:spPr bwMode="auto">
          <a:xfrm>
            <a:off x="38093" y="5477024"/>
            <a:ext cx="23007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2400" b="1">
                <a:solidFill>
                  <a:srgbClr val="FF8200"/>
                </a:solidFill>
              </a:rPr>
              <a:t>Influencer</a:t>
            </a:r>
            <a:endParaRPr>
              <a:solidFill>
                <a:srgbClr val="000000"/>
              </a:solidFill>
            </a:endParaRPr>
          </a:p>
        </p:txBody>
      </p:sp>
      <p:pic>
        <p:nvPicPr>
          <p:cNvPr id="88" name="Image 87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58825" y="4557986"/>
            <a:ext cx="877763" cy="877763"/>
          </a:xfrm>
          <a:prstGeom prst="rect">
            <a:avLst/>
          </a:prstGeom>
        </p:spPr>
      </p:pic>
      <p:pic>
        <p:nvPicPr>
          <p:cNvPr id="89" name="Image 88"/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5325" y="2228095"/>
            <a:ext cx="933639" cy="933639"/>
          </a:xfrm>
          <a:prstGeom prst="rect">
            <a:avLst/>
          </a:prstGeom>
        </p:spPr>
      </p:pic>
      <p:sp>
        <p:nvSpPr>
          <p:cNvPr id="35" name="Espace réservé du numéro de diapositive 1"/>
          <p:cNvSpPr>
            <a:spLocks noGrp="1"/>
          </p:cNvSpPr>
          <p:nvPr>
            <p:ph type="sldNum" sz="quarter" idx="16"/>
          </p:nvPr>
        </p:nvSpPr>
        <p:spPr bwMode="auto">
          <a:xfrm>
            <a:off x="8753475" y="6486522"/>
            <a:ext cx="2450306" cy="368300"/>
          </a:xfr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4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37" name="TextBox 60">
            <a:extLst>
              <a:ext uri="{FF2B5EF4-FFF2-40B4-BE49-F238E27FC236}">
                <a16:creationId xmlns:a16="http://schemas.microsoft.com/office/drawing/2014/main" id="{5CB169A2-35EE-4EFE-B570-EB7FFE0E4057}"/>
              </a:ext>
            </a:extLst>
          </p:cNvPr>
          <p:cNvSpPr txBox="1"/>
          <p:nvPr/>
        </p:nvSpPr>
        <p:spPr bwMode="auto">
          <a:xfrm>
            <a:off x="9149746" y="3018494"/>
            <a:ext cx="2370510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analyses</a:t>
            </a:r>
            <a:r>
              <a:rPr lang="fr-FR" sz="1400" i="1" dirty="0">
                <a:solidFill>
                  <a:srgbClr val="FF8200"/>
                </a:solidFill>
              </a:rPr>
              <a:t> </a:t>
            </a:r>
            <a:r>
              <a:rPr lang="fr-FR" sz="1600" b="1" i="1" dirty="0">
                <a:solidFill>
                  <a:srgbClr val="0028DC"/>
                </a:solidFill>
              </a:rPr>
              <a:t>robustes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0028DC"/>
                </a:solidFill>
              </a:rPr>
              <a:t>chiffrées</a:t>
            </a:r>
            <a:r>
              <a:rPr lang="fr-FR" sz="1600" b="1" i="1" dirty="0">
                <a:solidFill>
                  <a:srgbClr val="82C8FA">
                    <a:lumMod val="60000"/>
                    <a:lumOff val="40000"/>
                  </a:srgbClr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sur les aspects clés de la transition</a:t>
            </a:r>
            <a:endParaRPr lang="fr-FR" sz="1600" b="1" i="1" dirty="0">
              <a:solidFill>
                <a:srgbClr val="0028DC"/>
              </a:solidFill>
            </a:endParaRPr>
          </a:p>
        </p:txBody>
      </p:sp>
      <p:sp>
        <p:nvSpPr>
          <p:cNvPr id="38" name="TextBox 70">
            <a:extLst>
              <a:ext uri="{FF2B5EF4-FFF2-40B4-BE49-F238E27FC236}">
                <a16:creationId xmlns:a16="http://schemas.microsoft.com/office/drawing/2014/main" id="{B6096462-6D2D-4D17-B5F7-B56285031DAF}"/>
              </a:ext>
            </a:extLst>
          </p:cNvPr>
          <p:cNvSpPr txBox="1"/>
          <p:nvPr/>
        </p:nvSpPr>
        <p:spPr bwMode="auto">
          <a:xfrm>
            <a:off x="2623471" y="5202656"/>
            <a:ext cx="2863964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campagnes de </a:t>
            </a:r>
            <a:r>
              <a:rPr lang="fr-FR" sz="1600" b="1" i="1" dirty="0">
                <a:solidFill>
                  <a:srgbClr val="FF8200"/>
                </a:solidFill>
              </a:rPr>
              <a:t>communication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FF8200"/>
                </a:solidFill>
              </a:rPr>
              <a:t>lobbying </a:t>
            </a:r>
            <a:r>
              <a:rPr lang="fr-FR" sz="1400" i="1" dirty="0">
                <a:solidFill>
                  <a:srgbClr val="00005A"/>
                </a:solidFill>
              </a:rPr>
              <a:t>auprès des </a:t>
            </a:r>
            <a:r>
              <a:rPr lang="fr-FR" sz="1600" b="1" i="1" dirty="0">
                <a:solidFill>
                  <a:srgbClr val="0028DC"/>
                </a:solidFill>
              </a:rPr>
              <a:t>décideurs</a:t>
            </a:r>
            <a:r>
              <a:rPr lang="fr-FR" sz="1400" i="1" dirty="0">
                <a:solidFill>
                  <a:srgbClr val="00005A"/>
                </a:solidFill>
              </a:rPr>
              <a:t> </a:t>
            </a:r>
            <a:r>
              <a:rPr lang="fr-FR" sz="1600" b="1" i="1" dirty="0">
                <a:solidFill>
                  <a:srgbClr val="0028DC"/>
                </a:solidFill>
              </a:rPr>
              <a:t>politiques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0028DC"/>
                </a:solidFill>
              </a:rPr>
              <a:t>économiques</a:t>
            </a:r>
            <a:endParaRPr sz="1600" b="1" i="1" dirty="0">
              <a:solidFill>
                <a:srgbClr val="0028DC"/>
              </a:solidFill>
            </a:endParaRPr>
          </a:p>
        </p:txBody>
      </p:sp>
      <p:sp>
        <p:nvSpPr>
          <p:cNvPr id="39" name="TextBox 71">
            <a:extLst>
              <a:ext uri="{FF2B5EF4-FFF2-40B4-BE49-F238E27FC236}">
                <a16:creationId xmlns:a16="http://schemas.microsoft.com/office/drawing/2014/main" id="{DDFF3DA9-1F09-407A-B839-BD53A7E09FA9}"/>
              </a:ext>
            </a:extLst>
          </p:cNvPr>
          <p:cNvSpPr txBox="1"/>
          <p:nvPr/>
        </p:nvSpPr>
        <p:spPr bwMode="auto">
          <a:xfrm>
            <a:off x="5991869" y="5435750"/>
            <a:ext cx="2370510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événements</a:t>
            </a:r>
            <a:r>
              <a:rPr lang="fr-FR" sz="1400" b="1" i="1" dirty="0">
                <a:solidFill>
                  <a:srgbClr val="FF8200"/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favorisant les </a:t>
            </a:r>
            <a:r>
              <a:rPr lang="fr-FR" sz="1600" b="1" i="1" dirty="0">
                <a:solidFill>
                  <a:srgbClr val="0028DC"/>
                </a:solidFill>
              </a:rPr>
              <a:t>discussions</a:t>
            </a:r>
            <a:r>
              <a:rPr lang="fr-FR" sz="1400" i="1" dirty="0">
                <a:solidFill>
                  <a:srgbClr val="00005A"/>
                </a:solidFill>
              </a:rPr>
              <a:t> entre parties prenante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40" name="TextBox 72">
            <a:extLst>
              <a:ext uri="{FF2B5EF4-FFF2-40B4-BE49-F238E27FC236}">
                <a16:creationId xmlns:a16="http://schemas.microsoft.com/office/drawing/2014/main" id="{93FB1C42-BCCF-4A7A-89CE-D7879E21AFB1}"/>
              </a:ext>
            </a:extLst>
          </p:cNvPr>
          <p:cNvSpPr txBox="1"/>
          <p:nvPr/>
        </p:nvSpPr>
        <p:spPr bwMode="auto">
          <a:xfrm>
            <a:off x="8835307" y="5398597"/>
            <a:ext cx="277140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partenariats</a:t>
            </a:r>
            <a:r>
              <a:rPr lang="fr-FR" sz="1600" i="1" dirty="0">
                <a:solidFill>
                  <a:srgbClr val="00005A"/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avec les organisations </a:t>
            </a:r>
            <a:r>
              <a:rPr lang="fr-FR" sz="1600" b="1" i="1" dirty="0">
                <a:solidFill>
                  <a:srgbClr val="0028DC"/>
                </a:solidFill>
              </a:rPr>
              <a:t>professionnelles</a:t>
            </a:r>
            <a:r>
              <a:rPr lang="fr-FR" sz="1400" i="1" dirty="0">
                <a:solidFill>
                  <a:srgbClr val="00005A"/>
                </a:solidFill>
              </a:rPr>
              <a:t>, le monde </a:t>
            </a:r>
            <a:r>
              <a:rPr lang="fr-FR" sz="1600" b="1" i="1" dirty="0">
                <a:solidFill>
                  <a:srgbClr val="0028DC"/>
                </a:solidFill>
              </a:rPr>
              <a:t>universitaire</a:t>
            </a:r>
            <a:r>
              <a:rPr lang="fr-FR" sz="1400" i="1" dirty="0">
                <a:solidFill>
                  <a:srgbClr val="00005A"/>
                </a:solidFill>
              </a:rPr>
              <a:t> et des acteurs </a:t>
            </a:r>
            <a:r>
              <a:rPr lang="fr-FR" sz="1600" b="1" i="1" dirty="0">
                <a:solidFill>
                  <a:srgbClr val="0028DC"/>
                </a:solidFill>
              </a:rPr>
              <a:t>internationaux</a:t>
            </a:r>
            <a:endParaRPr sz="1600" b="1" i="1" dirty="0">
              <a:solidFill>
                <a:srgbClr val="0028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4570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30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4DE87EE-95DD-47E5-8D89-E6D01CCE8D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4339" y="2374837"/>
            <a:ext cx="3155938" cy="3127697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BFDB4AF-8AE1-4F19-8403-EE505BE663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9542" y="2271801"/>
            <a:ext cx="3230995" cy="333377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33D0F5D6-C526-4276-AFAE-5D0373A2CC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59803" y="2559833"/>
            <a:ext cx="3398438" cy="31299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3A4B9BA4-24A3-4094-9748-D25BD57E345E}"/>
              </a:ext>
            </a:extLst>
          </p:cNvPr>
          <p:cNvSpPr txBox="1"/>
          <p:nvPr/>
        </p:nvSpPr>
        <p:spPr>
          <a:xfrm>
            <a:off x="720214" y="5124881"/>
            <a:ext cx="2820003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1 % pour comprendr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F26B27CB-3911-40C6-A79D-109D09DAA157}"/>
              </a:ext>
            </a:extLst>
          </p:cNvPr>
          <p:cNvSpPr txBox="1"/>
          <p:nvPr/>
        </p:nvSpPr>
        <p:spPr>
          <a:xfrm>
            <a:off x="5420174" y="5102424"/>
            <a:ext cx="1351652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Moratoire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49276AF-0CC5-4AE6-9C1A-CB994AF346DD}"/>
              </a:ext>
            </a:extLst>
          </p:cNvPr>
          <p:cNvSpPr txBox="1"/>
          <p:nvPr/>
        </p:nvSpPr>
        <p:spPr>
          <a:xfrm>
            <a:off x="9237880" y="5107189"/>
            <a:ext cx="1481496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Evaluatio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62E0F3B-895E-40DB-996B-580754AB3B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750" y="1463024"/>
            <a:ext cx="11620500" cy="428625"/>
          </a:xfrm>
          <a:prstGeom prst="rect">
            <a:avLst/>
          </a:prstGeom>
        </p:spPr>
      </p:pic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67E2F058-3617-466B-8209-F626C8C63E2A}"/>
              </a:ext>
            </a:extLst>
          </p:cNvPr>
          <p:cNvSpPr txBox="1">
            <a:spLocks/>
          </p:cNvSpPr>
          <p:nvPr/>
        </p:nvSpPr>
        <p:spPr bwMode="auto">
          <a:xfrm>
            <a:off x="695325" y="271452"/>
            <a:ext cx="11363324" cy="7654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  <a:defRPr/>
            </a:pPr>
            <a:r>
              <a:rPr lang="fr-FR" sz="40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hanger de trajectoire </a:t>
            </a:r>
            <a:r>
              <a:rPr lang="fr-FR" sz="4000" b="1" dirty="0">
                <a:solidFill>
                  <a:schemeClr val="accent1"/>
                </a:solidFill>
              </a:rPr>
              <a:t>avant la fin du mandat</a:t>
            </a:r>
          </a:p>
          <a:p>
            <a:pPr lvl="2">
              <a:defRPr/>
            </a:pP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16584546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31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7" name="Espace réservé du texte 10">
            <a:extLst>
              <a:ext uri="{FF2B5EF4-FFF2-40B4-BE49-F238E27FC236}">
                <a16:creationId xmlns:a16="http://schemas.microsoft.com/office/drawing/2014/main" id="{3115E54E-0357-4806-8825-C0ADA13A83A1}"/>
              </a:ext>
            </a:extLst>
          </p:cNvPr>
          <p:cNvSpPr txBox="1">
            <a:spLocks/>
          </p:cNvSpPr>
          <p:nvPr/>
        </p:nvSpPr>
        <p:spPr bwMode="auto">
          <a:xfrm>
            <a:off x="427091" y="344157"/>
            <a:ext cx="8992680" cy="269533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  <a:defRPr/>
            </a:pPr>
            <a:r>
              <a:rPr lang="fr-FR" sz="36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ette aventure dont vous êtes le héros</a:t>
            </a:r>
          </a:p>
          <a:p>
            <a:pPr lvl="2">
              <a:defRPr/>
            </a:pPr>
            <a:endParaRPr lang="fr-FR" b="1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25CCBF0-F812-4CB1-98B0-9691D41EDC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8171" y="1151611"/>
            <a:ext cx="6574971" cy="520733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6B95C093-23D3-466A-BB10-D7E130767D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3030" y="-9535"/>
            <a:ext cx="2688970" cy="649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3591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ED82DF70-6FEC-44E0-9DA4-38DE1992E9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161" y="2434383"/>
            <a:ext cx="1601282" cy="145155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08B038C9-6DB8-48F2-8FCD-0FEC1DD22B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9627" y="2714248"/>
            <a:ext cx="3522668" cy="1532248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E2C2D72C-8A14-4508-95CE-3B8E0FF407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386" y="2454830"/>
            <a:ext cx="2432878" cy="3121738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8D903DF4-F088-4BAF-8E3B-F645E109220C}"/>
              </a:ext>
            </a:extLst>
          </p:cNvPr>
          <p:cNvSpPr txBox="1"/>
          <p:nvPr/>
        </p:nvSpPr>
        <p:spPr>
          <a:xfrm>
            <a:off x="8587956" y="1424595"/>
            <a:ext cx="26175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Plateforme Web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Shift </a:t>
            </a:r>
            <a:r>
              <a:rPr lang="fr-FR" sz="2000" b="1" i="1" dirty="0" err="1">
                <a:solidFill>
                  <a:schemeClr val="accent1"/>
                </a:solidFill>
              </a:rPr>
              <a:t>My</a:t>
            </a:r>
            <a:r>
              <a:rPr lang="fr-FR" sz="2000" b="1" i="1" dirty="0">
                <a:solidFill>
                  <a:schemeClr val="accent1"/>
                </a:solidFill>
              </a:rPr>
              <a:t> Town »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A0BAEC02-1C14-438D-B5E8-622F4544E1D1}"/>
              </a:ext>
            </a:extLst>
          </p:cNvPr>
          <p:cNvSpPr txBox="1"/>
          <p:nvPr/>
        </p:nvSpPr>
        <p:spPr>
          <a:xfrm>
            <a:off x="4393118" y="1055264"/>
            <a:ext cx="302679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2800" b="1" dirty="0">
              <a:solidFill>
                <a:schemeClr val="accent2"/>
              </a:solidFill>
            </a:endParaRPr>
          </a:p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Les cahier-poster 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Résilience des territoires »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3364E00-BD37-40AA-9A26-0713A5D3FFD3}"/>
              </a:ext>
            </a:extLst>
          </p:cNvPr>
          <p:cNvSpPr txBox="1"/>
          <p:nvPr/>
        </p:nvSpPr>
        <p:spPr>
          <a:xfrm>
            <a:off x="398428" y="1455373"/>
            <a:ext cx="30267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accent1"/>
                </a:solidFill>
              </a:rPr>
              <a:t>Edition papier de la présente publication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41783018-9180-43D4-BE24-567B97404ED8}"/>
              </a:ext>
            </a:extLst>
          </p:cNvPr>
          <p:cNvCxnSpPr>
            <a:cxnSpLocks/>
          </p:cNvCxnSpPr>
          <p:nvPr/>
        </p:nvCxnSpPr>
        <p:spPr>
          <a:xfrm>
            <a:off x="3877139" y="1643745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5889CAE9-6BA4-4E28-B823-894A197F02E4}"/>
              </a:ext>
            </a:extLst>
          </p:cNvPr>
          <p:cNvCxnSpPr>
            <a:cxnSpLocks/>
          </p:cNvCxnSpPr>
          <p:nvPr/>
        </p:nvCxnSpPr>
        <p:spPr>
          <a:xfrm>
            <a:off x="7909587" y="1593872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 14">
            <a:extLst>
              <a:ext uri="{FF2B5EF4-FFF2-40B4-BE49-F238E27FC236}">
                <a16:creationId xmlns:a16="http://schemas.microsoft.com/office/drawing/2014/main" id="{FEE8BF84-08E4-4CC4-AF83-A4608BE87C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66816" y="3349267"/>
            <a:ext cx="3488564" cy="295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6397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3197639" y="573315"/>
            <a:ext cx="5796721" cy="111327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fr-FR" sz="4000" dirty="0">
                <a:solidFill>
                  <a:schemeClr val="accent2"/>
                </a:solidFill>
              </a:rPr>
              <a:t>Merci </a:t>
            </a:r>
            <a:endParaRPr lang="fr-FR" sz="4000" dirty="0"/>
          </a:p>
          <a:p>
            <a:pPr lvl="2">
              <a:defRPr/>
            </a:pP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54778ED-F2D5-4244-9A41-9A76F387F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746" y="1277257"/>
            <a:ext cx="11552736" cy="5176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5738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A4C448-E7AF-456F-BFCE-B33BCECF5553}"/>
              </a:ext>
            </a:extLst>
          </p:cNvPr>
          <p:cNvSpPr/>
          <p:nvPr/>
        </p:nvSpPr>
        <p:spPr>
          <a:xfrm>
            <a:off x="0" y="-9489"/>
            <a:ext cx="7945427" cy="17432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4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e4pHeader1"/>
          <p:cNvSpPr txBox="1"/>
          <p:nvPr/>
        </p:nvSpPr>
        <p:spPr bwMode="auto">
          <a:xfrm>
            <a:off x="366158" y="2166902"/>
            <a:ext cx="217182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>
                <a:solidFill>
                  <a:srgbClr val="0028DC"/>
                </a:solidFill>
              </a:rPr>
              <a:t>Bureau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10" name="ee4pHeader2"/>
          <p:cNvSpPr txBox="1"/>
          <p:nvPr/>
        </p:nvSpPr>
        <p:spPr bwMode="auto">
          <a:xfrm>
            <a:off x="3293130" y="2168690"/>
            <a:ext cx="228766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fr-FR"/>
            </a:defPPr>
            <a:lvl4pPr marL="0" lvl="3">
              <a:defRPr sz="2400" b="1">
                <a:solidFill>
                  <a:schemeClr val="accent6"/>
                </a:solidFill>
              </a:defRPr>
            </a:lvl4pPr>
          </a:lstStyle>
          <a:p>
            <a:pPr lvl="3">
              <a:defRPr/>
            </a:pPr>
            <a:r>
              <a:rPr lang="fr-FR">
                <a:solidFill>
                  <a:srgbClr val="0028DC"/>
                </a:solidFill>
              </a:rPr>
              <a:t>Équipe salariée</a:t>
            </a:r>
            <a:endParaRPr>
              <a:solidFill>
                <a:srgbClr val="0028DC"/>
              </a:solidFill>
            </a:endParaRPr>
          </a:p>
        </p:txBody>
      </p:sp>
      <p:sp>
        <p:nvSpPr>
          <p:cNvPr id="11" name="ee4pHeader3"/>
          <p:cNvSpPr txBox="1"/>
          <p:nvPr/>
        </p:nvSpPr>
        <p:spPr bwMode="auto">
          <a:xfrm>
            <a:off x="6341426" y="2550168"/>
            <a:ext cx="228766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 dirty="0">
                <a:solidFill>
                  <a:srgbClr val="0028DC"/>
                </a:solidFill>
              </a:rPr>
              <a:t>Chefs de projet &amp; exper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ee4pHeader4"/>
          <p:cNvSpPr txBox="1"/>
          <p:nvPr/>
        </p:nvSpPr>
        <p:spPr bwMode="auto">
          <a:xfrm>
            <a:off x="9320311" y="2188329"/>
            <a:ext cx="217182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>
                <a:solidFill>
                  <a:srgbClr val="FF8200"/>
                </a:solidFill>
              </a:rPr>
              <a:t>Bénévoles</a:t>
            </a:r>
            <a:endParaRPr>
              <a:solidFill>
                <a:srgbClr val="FF8200"/>
              </a:solidFill>
            </a:endParaRPr>
          </a:p>
        </p:txBody>
      </p:sp>
      <p:sp>
        <p:nvSpPr>
          <p:cNvPr id="14" name="Arc 13"/>
          <p:cNvSpPr/>
          <p:nvPr/>
        </p:nvSpPr>
        <p:spPr bwMode="auto">
          <a:xfrm>
            <a:off x="-589238" y="1317020"/>
            <a:ext cx="3808926" cy="5963477"/>
          </a:xfrm>
          <a:prstGeom prst="arc">
            <a:avLst>
              <a:gd name="adj1" fmla="val 17816965"/>
              <a:gd name="adj2" fmla="val 3781804"/>
            </a:avLst>
          </a:prstGeom>
          <a:noFill/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15" name="Arc 14"/>
          <p:cNvSpPr/>
          <p:nvPr/>
        </p:nvSpPr>
        <p:spPr bwMode="auto">
          <a:xfrm>
            <a:off x="2532500" y="1317020"/>
            <a:ext cx="3808926" cy="5963477"/>
          </a:xfrm>
          <a:prstGeom prst="arc">
            <a:avLst>
              <a:gd name="adj1" fmla="val 17816965"/>
              <a:gd name="adj2" fmla="val 3781804"/>
            </a:avLst>
          </a:prstGeom>
          <a:noFill/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grpSp>
        <p:nvGrpSpPr>
          <p:cNvPr id="20" name="Groupe 19"/>
          <p:cNvGrpSpPr/>
          <p:nvPr/>
        </p:nvGrpSpPr>
        <p:grpSpPr>
          <a:xfrm>
            <a:off x="0" y="-9489"/>
            <a:ext cx="12223899" cy="2192544"/>
            <a:chOff x="0" y="27521"/>
            <a:chExt cx="12223899" cy="2142345"/>
          </a:xfrm>
        </p:grpSpPr>
        <p:sp>
          <p:nvSpPr>
            <p:cNvPr id="18" name="Rectangle 17"/>
            <p:cNvSpPr/>
            <p:nvPr/>
          </p:nvSpPr>
          <p:spPr bwMode="auto">
            <a:xfrm>
              <a:off x="7945428" y="27521"/>
              <a:ext cx="4278471" cy="2142345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0" y="1120351"/>
              <a:ext cx="8394385" cy="1017583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</p:grpSp>
      <p:sp>
        <p:nvSpPr>
          <p:cNvPr id="5" name="ee4pContent1"/>
          <p:cNvSpPr txBox="1"/>
          <p:nvPr/>
        </p:nvSpPr>
        <p:spPr bwMode="auto">
          <a:xfrm>
            <a:off x="276453" y="3871640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Jean-Marc Jancovici</a:t>
            </a:r>
            <a:endParaRPr/>
          </a:p>
        </p:txBody>
      </p:sp>
      <p:pic>
        <p:nvPicPr>
          <p:cNvPr id="37" name="Image 28"/>
          <p:cNvPicPr/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5686" b="29652"/>
          <a:stretch/>
        </p:blipFill>
        <p:spPr bwMode="auto">
          <a:xfrm>
            <a:off x="366158" y="3107654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pic>
        <p:nvPicPr>
          <p:cNvPr id="39" name="Image 30" descr="E:\Dropbox\Events\Forum\TSF_2016\Photos participants\Photos validées\41-Laurent Morel.tif"/>
          <p:cNvPicPr/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061" t="9367" r="9319" b="9420"/>
          <a:stretch/>
        </p:blipFill>
        <p:spPr bwMode="auto">
          <a:xfrm>
            <a:off x="1486717" y="3107654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43" name="ee4pContent1"/>
          <p:cNvSpPr txBox="1"/>
          <p:nvPr/>
        </p:nvSpPr>
        <p:spPr bwMode="auto">
          <a:xfrm>
            <a:off x="1397011" y="3927721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Laurent Morel</a:t>
            </a:r>
            <a:endParaRPr/>
          </a:p>
        </p:txBody>
      </p:sp>
      <p:pic>
        <p:nvPicPr>
          <p:cNvPr id="38" name="Image 29"/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66159" y="444269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pic>
        <p:nvPicPr>
          <p:cNvPr id="41" name="Image 32" descr="E:\Dropbox\Events\Forum\TSF_2016\Photos participants\Photos validées\22-G.Ferone.png"/>
          <p:cNvPicPr/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486717" y="444269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44" name="ee4pContent1"/>
          <p:cNvSpPr txBox="1"/>
          <p:nvPr/>
        </p:nvSpPr>
        <p:spPr bwMode="auto">
          <a:xfrm>
            <a:off x="276453" y="5206684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Michel Lepetit</a:t>
            </a:r>
            <a:endParaRPr/>
          </a:p>
        </p:txBody>
      </p:sp>
      <p:sp>
        <p:nvSpPr>
          <p:cNvPr id="46" name="ee4pContent1"/>
          <p:cNvSpPr txBox="1"/>
          <p:nvPr/>
        </p:nvSpPr>
        <p:spPr bwMode="auto">
          <a:xfrm>
            <a:off x="1231558" y="5206684"/>
            <a:ext cx="1250409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Geneviève Férone-Creuzet</a:t>
            </a:r>
            <a:endParaRPr/>
          </a:p>
        </p:txBody>
      </p:sp>
      <p:graphicFrame>
        <p:nvGraphicFramePr>
          <p:cNvPr id="16" name="Objet 1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oleObj" r:id="rId10" imgW="0" imgH="0" progId="TCLayout.ActiveDocument.1">
                  <p:embed/>
                </p:oleObj>
              </mc:Choice>
              <mc:Fallback>
                <p:oleObj name="oleObj" r:id="rId10" imgW="0" imgH="0" progId="TCLayout.ActiveDocument.1">
                  <p:embed/>
                  <p:pic>
                    <p:nvPicPr>
                      <p:cNvPr id="16" name="Objet 15"/>
                      <p:cNvPicPr/>
                      <p:nvPr/>
                    </p:nvPicPr>
                    <p:blipFill>
                      <a:blip r:embed="rId11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ee4pContent1"/>
          <p:cNvSpPr txBox="1"/>
          <p:nvPr/>
        </p:nvSpPr>
        <p:spPr bwMode="auto">
          <a:xfrm>
            <a:off x="4311746" y="3284003"/>
            <a:ext cx="1635010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Matthieu Auzanneau </a:t>
            </a:r>
            <a:r>
              <a:rPr lang="fr-FR" sz="1400" i="1">
                <a:solidFill>
                  <a:srgbClr val="00005A"/>
                </a:solidFill>
              </a:rPr>
              <a:t>Directeur</a:t>
            </a:r>
            <a:endParaRPr/>
          </a:p>
        </p:txBody>
      </p:sp>
      <p:pic>
        <p:nvPicPr>
          <p:cNvPr id="52" name="Picture 4" descr="https://theshiftproject.org/wp-content/uploads/2019/10/matthieu-Auzanneau-150x150.jpg"/>
          <p:cNvPicPr>
            <a:picLocks noChangeAspect="1" noChangeArrowheads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446169" y="303885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53" name="ee4pContent1"/>
          <p:cNvSpPr txBox="1"/>
          <p:nvPr/>
        </p:nvSpPr>
        <p:spPr bwMode="auto">
          <a:xfrm>
            <a:off x="4312847" y="3985384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mployés salariés</a:t>
            </a:r>
            <a:endParaRPr lang="fr-FR" sz="1400"/>
          </a:p>
        </p:txBody>
      </p:sp>
      <p:sp>
        <p:nvSpPr>
          <p:cNvPr id="54" name="ee4pContent1"/>
          <p:cNvSpPr txBox="1"/>
          <p:nvPr/>
        </p:nvSpPr>
        <p:spPr bwMode="auto">
          <a:xfrm>
            <a:off x="3563353" y="3976932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2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56" name="ee4pContent1"/>
          <p:cNvSpPr txBox="1"/>
          <p:nvPr/>
        </p:nvSpPr>
        <p:spPr bwMode="auto">
          <a:xfrm>
            <a:off x="4303590" y="4611276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/>
              <a:t>Recherche </a:t>
            </a:r>
            <a:endParaRPr/>
          </a:p>
        </p:txBody>
      </p:sp>
      <p:sp>
        <p:nvSpPr>
          <p:cNvPr id="57" name="ee4pContent1"/>
          <p:cNvSpPr txBox="1"/>
          <p:nvPr/>
        </p:nvSpPr>
        <p:spPr bwMode="auto">
          <a:xfrm>
            <a:off x="4303590" y="5136978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 dirty="0"/>
              <a:t>Influence </a:t>
            </a:r>
            <a:endParaRPr dirty="0"/>
          </a:p>
        </p:txBody>
      </p:sp>
      <p:sp>
        <p:nvSpPr>
          <p:cNvPr id="58" name="ee4pContent1"/>
          <p:cNvSpPr txBox="1"/>
          <p:nvPr/>
        </p:nvSpPr>
        <p:spPr bwMode="auto">
          <a:xfrm>
            <a:off x="4303590" y="5662681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/>
              <a:t>Partenariats</a:t>
            </a:r>
            <a:endParaRPr dirty="0"/>
          </a:p>
        </p:txBody>
      </p:sp>
      <p:sp>
        <p:nvSpPr>
          <p:cNvPr id="73" name="ee4pContent1"/>
          <p:cNvSpPr txBox="1"/>
          <p:nvPr/>
        </p:nvSpPr>
        <p:spPr bwMode="auto">
          <a:xfrm>
            <a:off x="7347804" y="3451244"/>
            <a:ext cx="1368266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Chefs de projet</a:t>
            </a:r>
            <a:endParaRPr lang="fr-FR" sz="1400"/>
          </a:p>
        </p:txBody>
      </p:sp>
      <p:sp>
        <p:nvSpPr>
          <p:cNvPr id="74" name="ee4pContent1"/>
          <p:cNvSpPr txBox="1"/>
          <p:nvPr/>
        </p:nvSpPr>
        <p:spPr bwMode="auto">
          <a:xfrm>
            <a:off x="6594498" y="3435840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2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79" name="ee4pContent1"/>
          <p:cNvSpPr txBox="1"/>
          <p:nvPr/>
        </p:nvSpPr>
        <p:spPr bwMode="auto">
          <a:xfrm>
            <a:off x="6486823" y="5662681"/>
            <a:ext cx="1947619" cy="76573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n charge de piloter les travaux du Shift Project</a:t>
            </a:r>
            <a:endParaRPr lang="fr-FR" sz="1400"/>
          </a:p>
        </p:txBody>
      </p:sp>
      <p:sp>
        <p:nvSpPr>
          <p:cNvPr id="80" name="ee4pContent1"/>
          <p:cNvSpPr txBox="1"/>
          <p:nvPr/>
        </p:nvSpPr>
        <p:spPr bwMode="auto">
          <a:xfrm>
            <a:off x="10732168" y="3109582"/>
            <a:ext cx="1118937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Shifters et Shifteuses</a:t>
            </a:r>
            <a:endParaRPr lang="fr-FR" sz="1400"/>
          </a:p>
        </p:txBody>
      </p:sp>
      <p:sp>
        <p:nvSpPr>
          <p:cNvPr id="81" name="ee4pContent1"/>
          <p:cNvSpPr txBox="1"/>
          <p:nvPr/>
        </p:nvSpPr>
        <p:spPr bwMode="auto">
          <a:xfrm>
            <a:off x="9324848" y="3109582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2800" b="1" dirty="0">
                <a:solidFill>
                  <a:srgbClr val="FF8200"/>
                </a:solidFill>
              </a:rPr>
              <a:t>20 000+</a:t>
            </a:r>
            <a:endParaRPr lang="fr-FR" sz="1400" b="1" dirty="0">
              <a:solidFill>
                <a:srgbClr val="FF8200"/>
              </a:solidFill>
            </a:endParaRPr>
          </a:p>
        </p:txBody>
      </p:sp>
      <p:sp>
        <p:nvSpPr>
          <p:cNvPr id="83" name="ee4pContent1"/>
          <p:cNvSpPr txBox="1"/>
          <p:nvPr/>
        </p:nvSpPr>
        <p:spPr bwMode="auto">
          <a:xfrm>
            <a:off x="9324313" y="4791081"/>
            <a:ext cx="2172362" cy="142875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  <a:ea typeface="Tahoma"/>
                <a:cs typeface="Tahoma"/>
              </a:rPr>
              <a:t>Réseau international nous appuyant dans nos travaux, diffusant les idées du Shift, s’informant et se formant sur les enjeux énergie-climat. </a:t>
            </a:r>
            <a:endParaRPr lang="fr-FR" sz="140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4646772"/>
            <a:ext cx="425040" cy="42504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055688" y="4732034"/>
            <a:ext cx="809887" cy="809887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5698303"/>
            <a:ext cx="425040" cy="42504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1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9962265" y="3809022"/>
            <a:ext cx="896989" cy="896989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1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5156119"/>
            <a:ext cx="453376" cy="453376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18"/>
          <a:stretch/>
        </p:blipFill>
        <p:spPr bwMode="auto">
          <a:xfrm>
            <a:off x="5213703" y="821983"/>
            <a:ext cx="1898990" cy="749169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/>
        </p:nvPicPr>
        <p:blipFill>
          <a:blip r:embed="rId19"/>
          <a:stretch/>
        </p:blipFill>
        <p:spPr bwMode="auto">
          <a:xfrm>
            <a:off x="9176342" y="609436"/>
            <a:ext cx="1852723" cy="939051"/>
          </a:xfrm>
          <a:prstGeom prst="rect">
            <a:avLst/>
          </a:prstGeom>
        </p:spPr>
      </p:pic>
      <p:sp>
        <p:nvSpPr>
          <p:cNvPr id="45" name="Arc 44"/>
          <p:cNvSpPr/>
          <p:nvPr/>
        </p:nvSpPr>
        <p:spPr bwMode="auto">
          <a:xfrm>
            <a:off x="5599852" y="-590187"/>
            <a:ext cx="3428493" cy="9572767"/>
          </a:xfrm>
          <a:custGeom>
            <a:avLst/>
            <a:gdLst>
              <a:gd name="connsiteX0" fmla="*/ 5008002 w 5847993"/>
              <a:gd name="connsiteY0" fmla="*/ 1744677 h 11687420"/>
              <a:gd name="connsiteX1" fmla="*/ 5847993 w 5847993"/>
              <a:gd name="connsiteY1" fmla="*/ 5843187 h 11687420"/>
              <a:gd name="connsiteX2" fmla="*/ 5008909 w 5847993"/>
              <a:gd name="connsiteY2" fmla="*/ 9940899 h 11687420"/>
              <a:gd name="connsiteX3" fmla="*/ 2923997 w 5847993"/>
              <a:gd name="connsiteY3" fmla="*/ 5843710 h 11687420"/>
              <a:gd name="connsiteX4" fmla="*/ 5008002 w 5847993"/>
              <a:gd name="connsiteY4" fmla="*/ 1744677 h 11687420"/>
              <a:gd name="connsiteX0" fmla="*/ 5008002 w 5847993"/>
              <a:gd name="connsiteY0" fmla="*/ 1744677 h 11687420"/>
              <a:gd name="connsiteX1" fmla="*/ 5847993 w 5847993"/>
              <a:gd name="connsiteY1" fmla="*/ 5843187 h 11687420"/>
              <a:gd name="connsiteX2" fmla="*/ 5008909 w 5847993"/>
              <a:gd name="connsiteY2" fmla="*/ 9940899 h 11687420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084005 w 3428493"/>
              <a:gd name="connsiteY0" fmla="*/ 0 h 8196222"/>
              <a:gd name="connsiteX1" fmla="*/ 3428493 w 3428493"/>
              <a:gd name="connsiteY1" fmla="*/ 4098510 h 8196222"/>
              <a:gd name="connsiteX2" fmla="*/ 2084912 w 3428493"/>
              <a:gd name="connsiteY2" fmla="*/ 8196222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084912 w 3428493"/>
              <a:gd name="connsiteY2" fmla="*/ 8196222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810126 w 3428493"/>
              <a:gd name="connsiteY2" fmla="*/ 6360431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810126 w 3428493"/>
              <a:gd name="connsiteY2" fmla="*/ 6360431 h 819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8493" h="8196222" stroke="0" extrusionOk="0">
                <a:moveTo>
                  <a:pt x="2084005" y="0"/>
                </a:moveTo>
                <a:cubicBezTo>
                  <a:pt x="2622238" y="1092978"/>
                  <a:pt x="2923928" y="2564990"/>
                  <a:pt x="2923996" y="4098510"/>
                </a:cubicBezTo>
                <a:cubicBezTo>
                  <a:pt x="2924065" y="5631497"/>
                  <a:pt x="2622716" y="7103149"/>
                  <a:pt x="2084912" y="8196222"/>
                </a:cubicBezTo>
                <a:lnTo>
                  <a:pt x="0" y="4099033"/>
                </a:lnTo>
                <a:lnTo>
                  <a:pt x="2084005" y="0"/>
                </a:lnTo>
                <a:close/>
              </a:path>
              <a:path w="3428493" h="8196222" fill="none" extrusionOk="0">
                <a:moveTo>
                  <a:pt x="2320488" y="499443"/>
                </a:moveTo>
                <a:cubicBezTo>
                  <a:pt x="2858721" y="1592421"/>
                  <a:pt x="3428425" y="2564990"/>
                  <a:pt x="3428493" y="4098510"/>
                </a:cubicBezTo>
                <a:cubicBezTo>
                  <a:pt x="3428562" y="5631497"/>
                  <a:pt x="3332164" y="5415841"/>
                  <a:pt x="2810126" y="6360431"/>
                </a:cubicBezTo>
              </a:path>
            </a:pathLst>
          </a:custGeom>
          <a:noFill/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grpSp>
        <p:nvGrpSpPr>
          <p:cNvPr id="25" name="Groupe 24"/>
          <p:cNvGrpSpPr/>
          <p:nvPr/>
        </p:nvGrpSpPr>
        <p:grpSpPr>
          <a:xfrm>
            <a:off x="7262949" y="68020"/>
            <a:ext cx="1511856" cy="2088928"/>
            <a:chOff x="7262949" y="68020"/>
            <a:chExt cx="1511856" cy="2088928"/>
          </a:xfrm>
        </p:grpSpPr>
        <p:sp>
          <p:nvSpPr>
            <p:cNvPr id="21" name="Triangle rectangle 20"/>
            <p:cNvSpPr/>
            <p:nvPr/>
          </p:nvSpPr>
          <p:spPr bwMode="auto">
            <a:xfrm rot="449998">
              <a:off x="7847358" y="154777"/>
              <a:ext cx="927447" cy="1615815"/>
            </a:xfrm>
            <a:prstGeom prst="rt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7951075" y="1772816"/>
              <a:ext cx="785544" cy="384132"/>
            </a:xfrm>
            <a:custGeom>
              <a:avLst/>
              <a:gdLst>
                <a:gd name="connsiteX0" fmla="*/ 0 w 749000"/>
                <a:gd name="connsiteY0" fmla="*/ 0 h 352382"/>
                <a:gd name="connsiteX1" fmla="*/ 749000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717469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654407 w 749000"/>
                <a:gd name="connsiteY1" fmla="*/ 15765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56990"/>
                <a:gd name="connsiteY0" fmla="*/ 0 h 352382"/>
                <a:gd name="connsiteX1" fmla="*/ 654407 w 756990"/>
                <a:gd name="connsiteY1" fmla="*/ 15765 h 352382"/>
                <a:gd name="connsiteX2" fmla="*/ 756990 w 756990"/>
                <a:gd name="connsiteY2" fmla="*/ 166116 h 352382"/>
                <a:gd name="connsiteX3" fmla="*/ 749000 w 756990"/>
                <a:gd name="connsiteY3" fmla="*/ 352382 h 352382"/>
                <a:gd name="connsiteX4" fmla="*/ 0 w 756990"/>
                <a:gd name="connsiteY4" fmla="*/ 352382 h 352382"/>
                <a:gd name="connsiteX5" fmla="*/ 0 w 756990"/>
                <a:gd name="connsiteY5" fmla="*/ 0 h 352382"/>
                <a:gd name="connsiteX0" fmla="*/ 0 w 756990"/>
                <a:gd name="connsiteY0" fmla="*/ 0 h 371432"/>
                <a:gd name="connsiteX1" fmla="*/ 654407 w 756990"/>
                <a:gd name="connsiteY1" fmla="*/ 15765 h 371432"/>
                <a:gd name="connsiteX2" fmla="*/ 756990 w 756990"/>
                <a:gd name="connsiteY2" fmla="*/ 166116 h 371432"/>
                <a:gd name="connsiteX3" fmla="*/ 749000 w 756990"/>
                <a:gd name="connsiteY3" fmla="*/ 371432 h 371432"/>
                <a:gd name="connsiteX4" fmla="*/ 0 w 756990"/>
                <a:gd name="connsiteY4" fmla="*/ 352382 h 371432"/>
                <a:gd name="connsiteX5" fmla="*/ 0 w 756990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56990 w 793924"/>
                <a:gd name="connsiteY2" fmla="*/ 166116 h 371432"/>
                <a:gd name="connsiteX3" fmla="*/ 793924 w 793924"/>
                <a:gd name="connsiteY3" fmla="*/ 371432 h 371432"/>
                <a:gd name="connsiteX4" fmla="*/ 0 w 793924"/>
                <a:gd name="connsiteY4" fmla="*/ 352382 h 371432"/>
                <a:gd name="connsiteX5" fmla="*/ 0 w 793924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11485 w 793924"/>
                <a:gd name="connsiteY2" fmla="*/ 91540 h 371432"/>
                <a:gd name="connsiteX3" fmla="*/ 756990 w 793924"/>
                <a:gd name="connsiteY3" fmla="*/ 166116 h 371432"/>
                <a:gd name="connsiteX4" fmla="*/ 793924 w 793924"/>
                <a:gd name="connsiteY4" fmla="*/ 371432 h 371432"/>
                <a:gd name="connsiteX5" fmla="*/ 0 w 793924"/>
                <a:gd name="connsiteY5" fmla="*/ 352382 h 371432"/>
                <a:gd name="connsiteX6" fmla="*/ 0 w 793924"/>
                <a:gd name="connsiteY6" fmla="*/ 0 h 371432"/>
                <a:gd name="connsiteX0" fmla="*/ 0 w 793924"/>
                <a:gd name="connsiteY0" fmla="*/ 0 h 384132"/>
                <a:gd name="connsiteX1" fmla="*/ 654407 w 793924"/>
                <a:gd name="connsiteY1" fmla="*/ 15765 h 384132"/>
                <a:gd name="connsiteX2" fmla="*/ 711485 w 793924"/>
                <a:gd name="connsiteY2" fmla="*/ 91540 h 384132"/>
                <a:gd name="connsiteX3" fmla="*/ 756990 w 793924"/>
                <a:gd name="connsiteY3" fmla="*/ 166116 h 384132"/>
                <a:gd name="connsiteX4" fmla="*/ 793924 w 793924"/>
                <a:gd name="connsiteY4" fmla="*/ 371432 h 384132"/>
                <a:gd name="connsiteX5" fmla="*/ 0 w 793924"/>
                <a:gd name="connsiteY5" fmla="*/ 384132 h 384132"/>
                <a:gd name="connsiteX6" fmla="*/ 0 w 793924"/>
                <a:gd name="connsiteY6" fmla="*/ 0 h 38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924" h="384132" extrusionOk="0">
                  <a:moveTo>
                    <a:pt x="0" y="0"/>
                  </a:moveTo>
                  <a:lnTo>
                    <a:pt x="654407" y="15765"/>
                  </a:lnTo>
                  <a:cubicBezTo>
                    <a:pt x="769779" y="31022"/>
                    <a:pt x="694388" y="66482"/>
                    <a:pt x="711485" y="91540"/>
                  </a:cubicBezTo>
                  <a:cubicBezTo>
                    <a:pt x="728582" y="116598"/>
                    <a:pt x="740041" y="119467"/>
                    <a:pt x="756990" y="166116"/>
                  </a:cubicBezTo>
                  <a:lnTo>
                    <a:pt x="793924" y="371432"/>
                  </a:lnTo>
                  <a:lnTo>
                    <a:pt x="0" y="384132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48" name="Rectangle 21"/>
            <p:cNvSpPr/>
            <p:nvPr/>
          </p:nvSpPr>
          <p:spPr bwMode="auto">
            <a:xfrm>
              <a:off x="7262949" y="68020"/>
              <a:ext cx="785544" cy="384132"/>
            </a:xfrm>
            <a:custGeom>
              <a:avLst/>
              <a:gdLst>
                <a:gd name="connsiteX0" fmla="*/ 0 w 749000"/>
                <a:gd name="connsiteY0" fmla="*/ 0 h 352382"/>
                <a:gd name="connsiteX1" fmla="*/ 749000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717469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654407 w 749000"/>
                <a:gd name="connsiteY1" fmla="*/ 15765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56990"/>
                <a:gd name="connsiteY0" fmla="*/ 0 h 352382"/>
                <a:gd name="connsiteX1" fmla="*/ 654407 w 756990"/>
                <a:gd name="connsiteY1" fmla="*/ 15765 h 352382"/>
                <a:gd name="connsiteX2" fmla="*/ 756990 w 756990"/>
                <a:gd name="connsiteY2" fmla="*/ 166116 h 352382"/>
                <a:gd name="connsiteX3" fmla="*/ 749000 w 756990"/>
                <a:gd name="connsiteY3" fmla="*/ 352382 h 352382"/>
                <a:gd name="connsiteX4" fmla="*/ 0 w 756990"/>
                <a:gd name="connsiteY4" fmla="*/ 352382 h 352382"/>
                <a:gd name="connsiteX5" fmla="*/ 0 w 756990"/>
                <a:gd name="connsiteY5" fmla="*/ 0 h 352382"/>
                <a:gd name="connsiteX0" fmla="*/ 0 w 756990"/>
                <a:gd name="connsiteY0" fmla="*/ 0 h 371432"/>
                <a:gd name="connsiteX1" fmla="*/ 654407 w 756990"/>
                <a:gd name="connsiteY1" fmla="*/ 15765 h 371432"/>
                <a:gd name="connsiteX2" fmla="*/ 756990 w 756990"/>
                <a:gd name="connsiteY2" fmla="*/ 166116 h 371432"/>
                <a:gd name="connsiteX3" fmla="*/ 749000 w 756990"/>
                <a:gd name="connsiteY3" fmla="*/ 371432 h 371432"/>
                <a:gd name="connsiteX4" fmla="*/ 0 w 756990"/>
                <a:gd name="connsiteY4" fmla="*/ 352382 h 371432"/>
                <a:gd name="connsiteX5" fmla="*/ 0 w 756990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56990 w 793924"/>
                <a:gd name="connsiteY2" fmla="*/ 166116 h 371432"/>
                <a:gd name="connsiteX3" fmla="*/ 793924 w 793924"/>
                <a:gd name="connsiteY3" fmla="*/ 371432 h 371432"/>
                <a:gd name="connsiteX4" fmla="*/ 0 w 793924"/>
                <a:gd name="connsiteY4" fmla="*/ 352382 h 371432"/>
                <a:gd name="connsiteX5" fmla="*/ 0 w 793924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11485 w 793924"/>
                <a:gd name="connsiteY2" fmla="*/ 91540 h 371432"/>
                <a:gd name="connsiteX3" fmla="*/ 756990 w 793924"/>
                <a:gd name="connsiteY3" fmla="*/ 166116 h 371432"/>
                <a:gd name="connsiteX4" fmla="*/ 793924 w 793924"/>
                <a:gd name="connsiteY4" fmla="*/ 371432 h 371432"/>
                <a:gd name="connsiteX5" fmla="*/ 0 w 793924"/>
                <a:gd name="connsiteY5" fmla="*/ 352382 h 371432"/>
                <a:gd name="connsiteX6" fmla="*/ 0 w 793924"/>
                <a:gd name="connsiteY6" fmla="*/ 0 h 371432"/>
                <a:gd name="connsiteX0" fmla="*/ 0 w 793924"/>
                <a:gd name="connsiteY0" fmla="*/ 0 h 384132"/>
                <a:gd name="connsiteX1" fmla="*/ 654407 w 793924"/>
                <a:gd name="connsiteY1" fmla="*/ 15765 h 384132"/>
                <a:gd name="connsiteX2" fmla="*/ 711485 w 793924"/>
                <a:gd name="connsiteY2" fmla="*/ 91540 h 384132"/>
                <a:gd name="connsiteX3" fmla="*/ 756990 w 793924"/>
                <a:gd name="connsiteY3" fmla="*/ 166116 h 384132"/>
                <a:gd name="connsiteX4" fmla="*/ 793924 w 793924"/>
                <a:gd name="connsiteY4" fmla="*/ 371432 h 384132"/>
                <a:gd name="connsiteX5" fmla="*/ 0 w 793924"/>
                <a:gd name="connsiteY5" fmla="*/ 384132 h 384132"/>
                <a:gd name="connsiteX6" fmla="*/ 0 w 793924"/>
                <a:gd name="connsiteY6" fmla="*/ 0 h 38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924" h="384132" extrusionOk="0">
                  <a:moveTo>
                    <a:pt x="0" y="0"/>
                  </a:moveTo>
                  <a:lnTo>
                    <a:pt x="654407" y="15765"/>
                  </a:lnTo>
                  <a:cubicBezTo>
                    <a:pt x="769779" y="31022"/>
                    <a:pt x="694388" y="66482"/>
                    <a:pt x="711485" y="91540"/>
                  </a:cubicBezTo>
                  <a:cubicBezTo>
                    <a:pt x="728582" y="116598"/>
                    <a:pt x="740041" y="119467"/>
                    <a:pt x="756990" y="166116"/>
                  </a:cubicBezTo>
                  <a:lnTo>
                    <a:pt x="793924" y="371432"/>
                  </a:lnTo>
                  <a:lnTo>
                    <a:pt x="0" y="384132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</p:grpSp>
      <p:sp>
        <p:nvSpPr>
          <p:cNvPr id="50" name="ee4pContent1"/>
          <p:cNvSpPr txBox="1"/>
          <p:nvPr/>
        </p:nvSpPr>
        <p:spPr bwMode="auto">
          <a:xfrm>
            <a:off x="7705512" y="3935102"/>
            <a:ext cx="1368266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xperts thématiques</a:t>
            </a:r>
            <a:endParaRPr lang="fr-FR" sz="1400"/>
          </a:p>
        </p:txBody>
      </p:sp>
      <p:sp>
        <p:nvSpPr>
          <p:cNvPr id="55" name="ee4pContent1"/>
          <p:cNvSpPr txBox="1"/>
          <p:nvPr/>
        </p:nvSpPr>
        <p:spPr bwMode="auto">
          <a:xfrm>
            <a:off x="6736260" y="3854057"/>
            <a:ext cx="85140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10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62" name="Title 3"/>
          <p:cNvSpPr txBox="1"/>
          <p:nvPr/>
        </p:nvSpPr>
        <p:spPr bwMode="auto">
          <a:xfrm>
            <a:off x="847725" y="591392"/>
            <a:ext cx="10801350" cy="54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None/>
              <a:defRPr sz="32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>
                <a:solidFill>
                  <a:srgbClr val="FFFFFF"/>
                </a:solidFill>
              </a:rPr>
              <a:t>Qui sommes-nous ? 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1" y="2132856"/>
            <a:ext cx="8753474" cy="45719"/>
          </a:xfrm>
          <a:custGeom>
            <a:avLst/>
            <a:gdLst>
              <a:gd name="connsiteX0" fmla="*/ 0 w 8048493"/>
              <a:gd name="connsiteY0" fmla="*/ 0 h 369332"/>
              <a:gd name="connsiteX1" fmla="*/ 8048493 w 8048493"/>
              <a:gd name="connsiteY1" fmla="*/ 0 h 369332"/>
              <a:gd name="connsiteX2" fmla="*/ 8048493 w 8048493"/>
              <a:gd name="connsiteY2" fmla="*/ 369332 h 369332"/>
              <a:gd name="connsiteX3" fmla="*/ 0 w 8048493"/>
              <a:gd name="connsiteY3" fmla="*/ 369332 h 369332"/>
              <a:gd name="connsiteX4" fmla="*/ 0 w 8048493"/>
              <a:gd name="connsiteY4" fmla="*/ 0 h 369332"/>
              <a:gd name="connsiteX0" fmla="*/ 0 w 8067744"/>
              <a:gd name="connsiteY0" fmla="*/ 0 h 369332"/>
              <a:gd name="connsiteX1" fmla="*/ 8048493 w 8067744"/>
              <a:gd name="connsiteY1" fmla="*/ 0 h 369332"/>
              <a:gd name="connsiteX2" fmla="*/ 8067744 w 8067744"/>
              <a:gd name="connsiteY2" fmla="*/ 51698 h 369332"/>
              <a:gd name="connsiteX3" fmla="*/ 0 w 8067744"/>
              <a:gd name="connsiteY3" fmla="*/ 369332 h 369332"/>
              <a:gd name="connsiteX4" fmla="*/ 0 w 8067744"/>
              <a:gd name="connsiteY4" fmla="*/ 0 h 369332"/>
              <a:gd name="connsiteX0" fmla="*/ 0 w 8067744"/>
              <a:gd name="connsiteY0" fmla="*/ 0 h 51698"/>
              <a:gd name="connsiteX1" fmla="*/ 8048493 w 8067744"/>
              <a:gd name="connsiteY1" fmla="*/ 0 h 51698"/>
              <a:gd name="connsiteX2" fmla="*/ 8067744 w 8067744"/>
              <a:gd name="connsiteY2" fmla="*/ 51698 h 51698"/>
              <a:gd name="connsiteX3" fmla="*/ 57752 w 8067744"/>
              <a:gd name="connsiteY3" fmla="*/ 22822 h 51698"/>
              <a:gd name="connsiteX4" fmla="*/ 0 w 8067744"/>
              <a:gd name="connsiteY4" fmla="*/ 0 h 51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7744" h="51698">
                <a:moveTo>
                  <a:pt x="0" y="0"/>
                </a:moveTo>
                <a:lnTo>
                  <a:pt x="8048493" y="0"/>
                </a:lnTo>
                <a:lnTo>
                  <a:pt x="8067744" y="51698"/>
                </a:lnTo>
                <a:lnTo>
                  <a:pt x="57752" y="2282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8932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id="{24FAB08F-2410-433C-9C91-93B00A473495}"/>
              </a:ext>
            </a:extLst>
          </p:cNvPr>
          <p:cNvSpPr/>
          <p:nvPr/>
        </p:nvSpPr>
        <p:spPr bwMode="auto">
          <a:xfrm>
            <a:off x="0" y="-9489"/>
            <a:ext cx="12223899" cy="14137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2"/>
              </a:solidFill>
            </a:endParaRPr>
          </a:p>
        </p:txBody>
      </p:sp>
      <p:graphicFrame>
        <p:nvGraphicFramePr>
          <p:cNvPr id="6" name="Obje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6" name="Objet 5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Rectangle 91"/>
          <p:cNvSpPr/>
          <p:nvPr/>
        </p:nvSpPr>
        <p:spPr bwMode="auto">
          <a:xfrm>
            <a:off x="440132" y="1731997"/>
            <a:ext cx="6976667" cy="4038883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82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 bwMode="auto">
          <a:xfrm>
            <a:off x="8498283" y="6082468"/>
            <a:ext cx="2450306" cy="368300"/>
          </a:xfrm>
        </p:spPr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5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 vert="horz">
            <a:noAutofit/>
          </a:bodyPr>
          <a:lstStyle/>
          <a:p>
            <a:pPr>
              <a:defRPr/>
            </a:pPr>
            <a:r>
              <a:rPr lang="fr-FR" b="1" dirty="0">
                <a:solidFill>
                  <a:schemeClr val="bg2"/>
                </a:solidFill>
              </a:rPr>
              <a:t>Qui nous finance ? </a:t>
            </a:r>
            <a:endParaRPr lang="en-US" b="1" dirty="0">
              <a:solidFill>
                <a:schemeClr val="bg2"/>
              </a:solidFill>
            </a:endParaRPr>
          </a:p>
        </p:txBody>
      </p:sp>
      <p:pic>
        <p:nvPicPr>
          <p:cNvPr id="43" name="Image 19" descr="http://www.greenunivers.com/wp-content/uploads/2011/04/EDF.jpg"/>
          <p:cNvPicPr>
            <a:picLocks noChangeAspect="1"/>
          </p:cNvPicPr>
          <p:nvPr/>
        </p:nvPicPr>
        <p:blipFill>
          <a:blip r:embed="rId6">
            <a:clrChange>
              <a:clrFrom>
                <a:srgbClr val="FCFEFD"/>
              </a:clrFrom>
              <a:clrTo>
                <a:srgbClr val="FCFEFD">
                  <a:alpha val="0"/>
                </a:srgbClr>
              </a:clrTo>
            </a:clrChange>
          </a:blip>
          <a:srcRect t="6026"/>
          <a:stretch/>
        </p:blipFill>
        <p:spPr bwMode="auto">
          <a:xfrm>
            <a:off x="2911984" y="2091269"/>
            <a:ext cx="549244" cy="472654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Image 21" descr="vinci.tiff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3721291" y="2152436"/>
            <a:ext cx="1015754" cy="280361"/>
          </a:xfrm>
          <a:prstGeom prst="rect">
            <a:avLst/>
          </a:prstGeom>
          <a:ln>
            <a:noFill/>
          </a:ln>
        </p:spPr>
      </p:pic>
      <p:pic>
        <p:nvPicPr>
          <p:cNvPr id="45" name="Image 2" descr="BOUYGUES fond blanc.jpg"/>
          <p:cNvPicPr>
            <a:picLocks noChangeAspect="1"/>
          </p:cNvPicPr>
          <p:nvPr/>
        </p:nvPicPr>
        <p:blipFill>
          <a:blip r:embed="rId8">
            <a:clrChange>
              <a:clrFrom>
                <a:srgbClr val="FEFEFC"/>
              </a:clrFrom>
              <a:clrTo>
                <a:srgbClr val="FEFEFC">
                  <a:alpha val="0"/>
                </a:srgbClr>
              </a:clrTo>
            </a:clrChange>
          </a:blip>
          <a:stretch/>
        </p:blipFill>
        <p:spPr bwMode="auto">
          <a:xfrm>
            <a:off x="1584224" y="2125516"/>
            <a:ext cx="806191" cy="397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Image 28" descr="logo_spie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568424" y="2152436"/>
            <a:ext cx="735425" cy="338751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Image 29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6436700" y="2109314"/>
            <a:ext cx="656526" cy="345262"/>
          </a:xfrm>
          <a:prstGeom prst="rect">
            <a:avLst/>
          </a:prstGeom>
          <a:ln>
            <a:noFill/>
          </a:ln>
        </p:spPr>
      </p:pic>
      <p:pic>
        <p:nvPicPr>
          <p:cNvPr id="48" name="Picture 6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857949" y="3375145"/>
            <a:ext cx="491631" cy="411324"/>
          </a:xfrm>
          <a:prstGeom prst="rect">
            <a:avLst/>
          </a:prstGeom>
          <a:ln>
            <a:noFill/>
          </a:ln>
        </p:spPr>
      </p:pic>
      <p:pic>
        <p:nvPicPr>
          <p:cNvPr id="49" name="Image 32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2802547" y="3339373"/>
            <a:ext cx="648959" cy="439242"/>
          </a:xfrm>
          <a:prstGeom prst="rect">
            <a:avLst/>
          </a:prstGeom>
          <a:ln>
            <a:noFill/>
          </a:ln>
        </p:spPr>
      </p:pic>
      <p:pic>
        <p:nvPicPr>
          <p:cNvPr id="50" name="Image 33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4101160" y="3353628"/>
            <a:ext cx="423123" cy="404579"/>
          </a:xfrm>
          <a:prstGeom prst="rect">
            <a:avLst/>
          </a:prstGeom>
          <a:ln>
            <a:noFill/>
          </a:ln>
        </p:spPr>
      </p:pic>
      <p:pic>
        <p:nvPicPr>
          <p:cNvPr id="51" name="Picture 2" descr="https://adn-co.news/uploads/images/2019/11/04/bf1fa438b91259e725955d9af494dc6a.jpeg"/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1709949" y="2701872"/>
            <a:ext cx="733031" cy="391579"/>
          </a:xfrm>
          <a:prstGeom prst="rect">
            <a:avLst/>
          </a:prstGeom>
          <a:ln>
            <a:noFill/>
          </a:ln>
        </p:spPr>
      </p:pic>
      <p:pic>
        <p:nvPicPr>
          <p:cNvPr id="52" name="Image 36"/>
          <p:cNvPicPr>
            <a:picLocks noChangeAspect="1"/>
          </p:cNvPicPr>
          <p:nvPr/>
        </p:nvPicPr>
        <p:blipFill>
          <a:blip r:embed="rId15"/>
          <a:srcRect l="24070" t="23596" r="25066" b="16692"/>
          <a:stretch/>
        </p:blipFill>
        <p:spPr bwMode="auto">
          <a:xfrm>
            <a:off x="2742556" y="2641565"/>
            <a:ext cx="452600" cy="531314"/>
          </a:xfrm>
          <a:prstGeom prst="rect">
            <a:avLst/>
          </a:prstGeom>
          <a:ln>
            <a:noFill/>
          </a:ln>
        </p:spPr>
      </p:pic>
      <p:pic>
        <p:nvPicPr>
          <p:cNvPr id="53" name="Picture 2" descr="https://tse1.mm.bing.net/th?id=OIP.KGFNnfJY59XNf_gOZrwFeQHaDB&amp;pid=Api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9800" t="23443" r="10018" b="29146"/>
          <a:stretch/>
        </p:blipFill>
        <p:spPr bwMode="auto">
          <a:xfrm>
            <a:off x="5167488" y="2187294"/>
            <a:ext cx="824202" cy="198419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Picture 4" descr="https://tse4.mm.bing.net/th?id=OIP.ZX-mKBvYvNCl7zLKJZBm2gHaCf&amp;pid=Api"/>
          <p:cNvPicPr>
            <a:picLocks noChangeAspect="1" noChangeArrowheads="1"/>
          </p:cNvPicPr>
          <p:nvPr/>
        </p:nvPicPr>
        <p:blipFill>
          <a:blip r:embed="rId17"/>
          <a:stretch/>
        </p:blipFill>
        <p:spPr bwMode="auto">
          <a:xfrm>
            <a:off x="568424" y="2740380"/>
            <a:ext cx="903530" cy="303083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Image 55"/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712" b="17452"/>
          <a:stretch/>
        </p:blipFill>
        <p:spPr bwMode="auto">
          <a:xfrm>
            <a:off x="1682556" y="3326065"/>
            <a:ext cx="675139" cy="417482"/>
          </a:xfrm>
          <a:prstGeom prst="rect">
            <a:avLst/>
          </a:prstGeom>
        </p:spPr>
      </p:pic>
      <p:pic>
        <p:nvPicPr>
          <p:cNvPr id="56" name="Picture 1"/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5115174" y="3391013"/>
            <a:ext cx="627399" cy="537234"/>
          </a:xfrm>
          <a:prstGeom prst="rect">
            <a:avLst/>
          </a:prstGeom>
          <a:noFill/>
        </p:spPr>
      </p:pic>
      <p:pic>
        <p:nvPicPr>
          <p:cNvPr id="57" name="Picture 4" descr="Logo de AOSIS "/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0499" r="3665" b="22501"/>
          <a:stretch/>
        </p:blipFill>
        <p:spPr bwMode="auto">
          <a:xfrm>
            <a:off x="6170012" y="3350047"/>
            <a:ext cx="789168" cy="385027"/>
          </a:xfrm>
          <a:prstGeom prst="rect">
            <a:avLst/>
          </a:prstGeom>
          <a:noFill/>
        </p:spPr>
      </p:pic>
      <p:pic>
        <p:nvPicPr>
          <p:cNvPr id="58" name="Picture 5" descr="Logo_AESIO_MUTUELLE+baseline-12-2020"/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4749302" y="2793158"/>
            <a:ext cx="859488" cy="405213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Image 5"/>
          <p:cNvPicPr>
            <a:picLocks noChangeAspect="1"/>
          </p:cNvPicPr>
          <p:nvPr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8101" b="18208"/>
          <a:stretch/>
        </p:blipFill>
        <p:spPr bwMode="auto">
          <a:xfrm>
            <a:off x="5102132" y="3977850"/>
            <a:ext cx="753981" cy="358313"/>
          </a:xfrm>
          <a:prstGeom prst="rect">
            <a:avLst/>
          </a:prstGeom>
        </p:spPr>
      </p:pic>
      <p:pic>
        <p:nvPicPr>
          <p:cNvPr id="60" name="Picture 4" descr="IMP Industries"/>
          <p:cNvPicPr>
            <a:picLocks noChangeAspect="1" noChangeArrowheads="1"/>
          </p:cNvPicPr>
          <p:nvPr/>
        </p:nvPicPr>
        <p:blipFill>
          <a:blip r:embed="rId23"/>
          <a:stretch/>
        </p:blipFill>
        <p:spPr bwMode="auto">
          <a:xfrm>
            <a:off x="3992802" y="4134710"/>
            <a:ext cx="646298" cy="213246"/>
          </a:xfrm>
          <a:prstGeom prst="rect">
            <a:avLst/>
          </a:prstGeom>
          <a:noFill/>
        </p:spPr>
      </p:pic>
      <p:pic>
        <p:nvPicPr>
          <p:cNvPr id="61" name="Picture 8" descr="Travailler chez Monteiro | Glassdoor"/>
          <p:cNvPicPr>
            <a:picLocks noChangeAspect="1" noChangeArrowheads="1"/>
          </p:cNvPicPr>
          <p:nvPr/>
        </p:nvPicPr>
        <p:blipFill>
          <a:blip r:embed="rId24"/>
          <a:stretch/>
        </p:blipFill>
        <p:spPr bwMode="auto">
          <a:xfrm>
            <a:off x="1543200" y="4003153"/>
            <a:ext cx="481753" cy="481753"/>
          </a:xfrm>
          <a:prstGeom prst="rect">
            <a:avLst/>
          </a:prstGeom>
          <a:noFill/>
        </p:spPr>
      </p:pic>
      <p:pic>
        <p:nvPicPr>
          <p:cNvPr id="62" name="Image 11"/>
          <p:cNvPicPr>
            <a:picLocks noChangeAspect="1"/>
          </p:cNvPicPr>
          <p:nvPr/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638874" y="3981425"/>
            <a:ext cx="521988" cy="521989"/>
          </a:xfrm>
          <a:prstGeom prst="rect">
            <a:avLst/>
          </a:prstGeom>
        </p:spPr>
      </p:pic>
      <p:pic>
        <p:nvPicPr>
          <p:cNvPr id="63" name="Image 20"/>
          <p:cNvPicPr>
            <a:picLocks noChangeAspect="1"/>
          </p:cNvPicPr>
          <p:nvPr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3932" b="29069"/>
          <a:stretch/>
        </p:blipFill>
        <p:spPr bwMode="auto">
          <a:xfrm>
            <a:off x="5960725" y="2828875"/>
            <a:ext cx="741638" cy="261269"/>
          </a:xfrm>
          <a:prstGeom prst="rect">
            <a:avLst/>
          </a:prstGeom>
        </p:spPr>
      </p:pic>
      <p:pic>
        <p:nvPicPr>
          <p:cNvPr id="67" name="Image 22"/>
          <p:cNvPicPr>
            <a:picLocks noChangeAspect="1"/>
          </p:cNvPicPr>
          <p:nvPr/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3149765" y="5229542"/>
            <a:ext cx="843037" cy="370334"/>
          </a:xfrm>
          <a:prstGeom prst="rect">
            <a:avLst/>
          </a:prstGeom>
        </p:spPr>
      </p:pic>
      <p:pic>
        <p:nvPicPr>
          <p:cNvPr id="68" name="Image 24"/>
          <p:cNvPicPr>
            <a:picLocks noChangeAspect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632" t="28689" r="23834" b="20974"/>
          <a:stretch/>
        </p:blipFill>
        <p:spPr bwMode="auto">
          <a:xfrm>
            <a:off x="6172116" y="3817133"/>
            <a:ext cx="832682" cy="541243"/>
          </a:xfrm>
          <a:prstGeom prst="rect">
            <a:avLst/>
          </a:prstGeom>
        </p:spPr>
      </p:pic>
      <p:pic>
        <p:nvPicPr>
          <p:cNvPr id="69" name="Image 34"/>
          <p:cNvPicPr>
            <a:picLocks noChangeAspect="1"/>
          </p:cNvPicPr>
          <p:nvPr/>
        </p:nvPicPr>
        <p:blipFill>
          <a:blip r:embed="rId29"/>
          <a:stretch/>
        </p:blipFill>
        <p:spPr bwMode="auto">
          <a:xfrm>
            <a:off x="3332878" y="4612982"/>
            <a:ext cx="501228" cy="501228"/>
          </a:xfrm>
          <a:prstGeom prst="rect">
            <a:avLst/>
          </a:prstGeom>
        </p:spPr>
      </p:pic>
      <p:pic>
        <p:nvPicPr>
          <p:cNvPr id="70" name="Image 40"/>
          <p:cNvPicPr>
            <a:picLocks noChangeAspect="1"/>
          </p:cNvPicPr>
          <p:nvPr/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1918017" y="5301491"/>
            <a:ext cx="993967" cy="410011"/>
          </a:xfrm>
          <a:prstGeom prst="rect">
            <a:avLst/>
          </a:prstGeom>
        </p:spPr>
      </p:pic>
      <p:pic>
        <p:nvPicPr>
          <p:cNvPr id="71" name="Image 42"/>
          <p:cNvPicPr>
            <a:picLocks noChangeAspect="1"/>
          </p:cNvPicPr>
          <p:nvPr/>
        </p:nvPicPr>
        <p:blipFill>
          <a:blip r:embed="rId3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2087419" y="4639230"/>
            <a:ext cx="765577" cy="509457"/>
          </a:xfrm>
          <a:prstGeom prst="rect">
            <a:avLst/>
          </a:prstGeom>
        </p:spPr>
      </p:pic>
      <p:pic>
        <p:nvPicPr>
          <p:cNvPr id="73" name="Image 12"/>
          <p:cNvPicPr>
            <a:picLocks noChangeAspect="1"/>
          </p:cNvPicPr>
          <p:nvPr/>
        </p:nvPicPr>
        <p:blipFill>
          <a:blip r:embed="rId3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t="20256" b="35215"/>
          <a:stretch/>
        </p:blipFill>
        <p:spPr bwMode="auto">
          <a:xfrm>
            <a:off x="603655" y="5266161"/>
            <a:ext cx="922028" cy="410566"/>
          </a:xfrm>
          <a:prstGeom prst="rect">
            <a:avLst/>
          </a:prstGeom>
        </p:spPr>
      </p:pic>
      <p:pic>
        <p:nvPicPr>
          <p:cNvPr id="74" name="Image 10"/>
          <p:cNvPicPr>
            <a:picLocks noChangeAspect="1"/>
          </p:cNvPicPr>
          <p:nvPr/>
        </p:nvPicPr>
        <p:blipFill>
          <a:blip r:embed="rId3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838" t="37730" r="22903" b="36503"/>
          <a:stretch/>
        </p:blipFill>
        <p:spPr bwMode="auto">
          <a:xfrm>
            <a:off x="4187195" y="5374626"/>
            <a:ext cx="924503" cy="239686"/>
          </a:xfrm>
          <a:prstGeom prst="rect">
            <a:avLst/>
          </a:prstGeom>
        </p:spPr>
      </p:pic>
      <p:sp>
        <p:nvSpPr>
          <p:cNvPr id="93" name="TextBox 92"/>
          <p:cNvSpPr txBox="1"/>
          <p:nvPr/>
        </p:nvSpPr>
        <p:spPr bwMode="auto">
          <a:xfrm>
            <a:off x="687657" y="1578107"/>
            <a:ext cx="3305145" cy="307777"/>
          </a:xfrm>
          <a:prstGeom prst="rect">
            <a:avLst/>
          </a:prstGeom>
          <a:solidFill>
            <a:srgbClr val="F2F2F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FF8200"/>
                </a:solidFill>
              </a:rPr>
              <a:t>30+ </a:t>
            </a:r>
            <a:r>
              <a:rPr lang="en-US" sz="2000" b="1" dirty="0" err="1">
                <a:solidFill>
                  <a:srgbClr val="FF8200"/>
                </a:solidFill>
              </a:rPr>
              <a:t>entreprises</a:t>
            </a:r>
            <a:r>
              <a:rPr lang="en-US" sz="2000" b="1" dirty="0">
                <a:solidFill>
                  <a:srgbClr val="FF8200"/>
                </a:solidFill>
              </a:rPr>
              <a:t> </a:t>
            </a:r>
            <a:r>
              <a:rPr lang="en-US" sz="2000" b="1" dirty="0" err="1">
                <a:solidFill>
                  <a:srgbClr val="FF8200"/>
                </a:solidFill>
              </a:rPr>
              <a:t>membres</a:t>
            </a:r>
            <a:endParaRPr lang="en-US" sz="2000" b="1" dirty="0">
              <a:solidFill>
                <a:srgbClr val="FF8200"/>
              </a:solidFill>
            </a:endParaRPr>
          </a:p>
        </p:txBody>
      </p:sp>
      <p:sp>
        <p:nvSpPr>
          <p:cNvPr id="94" name="Rectangle 93"/>
          <p:cNvSpPr/>
          <p:nvPr/>
        </p:nvSpPr>
        <p:spPr bwMode="auto">
          <a:xfrm>
            <a:off x="7572092" y="1795075"/>
            <a:ext cx="4051483" cy="3975805"/>
          </a:xfrm>
          <a:prstGeom prst="rect">
            <a:avLst/>
          </a:prstGeom>
          <a:noFill/>
          <a:ln w="12700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0028DC"/>
              </a:solidFill>
            </a:endParaRPr>
          </a:p>
        </p:txBody>
      </p:sp>
      <p:sp>
        <p:nvSpPr>
          <p:cNvPr id="95" name="TextBox 94"/>
          <p:cNvSpPr txBox="1"/>
          <p:nvPr/>
        </p:nvSpPr>
        <p:spPr bwMode="auto">
          <a:xfrm>
            <a:off x="8199200" y="1624444"/>
            <a:ext cx="2679886" cy="292388"/>
          </a:xfrm>
          <a:prstGeom prst="rect">
            <a:avLst/>
          </a:prstGeom>
          <a:solidFill>
            <a:srgbClr val="F2F2F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1900" b="1" dirty="0">
                <a:solidFill>
                  <a:srgbClr val="0028DC"/>
                </a:solidFill>
              </a:rPr>
              <a:t>Sponsors des </a:t>
            </a:r>
            <a:r>
              <a:rPr lang="en-US" sz="1900" b="1" dirty="0" err="1">
                <a:solidFill>
                  <a:srgbClr val="0028DC"/>
                </a:solidFill>
              </a:rPr>
              <a:t>proje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3" name="ZoneTexte 2"/>
          <p:cNvSpPr txBox="1"/>
          <p:nvPr/>
        </p:nvSpPr>
        <p:spPr bwMode="auto">
          <a:xfrm>
            <a:off x="7691440" y="1955039"/>
            <a:ext cx="408643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Sponsors privés : 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dirty="0">
                <a:solidFill>
                  <a:srgbClr val="00005A"/>
                </a:solidFill>
              </a:rPr>
              <a:t>Enedis, AXA France, Banque des Territoires, IFCAM, Audencia, CNP Assurances, RTE, Toulouse Business </a:t>
            </a:r>
            <a:r>
              <a:rPr lang="fr-FR" sz="1600" dirty="0" err="1">
                <a:solidFill>
                  <a:srgbClr val="00005A"/>
                </a:solidFill>
              </a:rPr>
              <a:t>School</a:t>
            </a:r>
            <a:r>
              <a:rPr lang="fr-FR" sz="1600" dirty="0">
                <a:solidFill>
                  <a:srgbClr val="00005A"/>
                </a:solidFill>
              </a:rPr>
              <a:t>, Montpellier Business </a:t>
            </a:r>
            <a:r>
              <a:rPr lang="fr-FR" sz="1600" dirty="0" err="1">
                <a:solidFill>
                  <a:srgbClr val="00005A"/>
                </a:solidFill>
              </a:rPr>
              <a:t>School</a:t>
            </a:r>
            <a:r>
              <a:rPr lang="fr-FR" sz="1600" dirty="0">
                <a:solidFill>
                  <a:srgbClr val="00005A"/>
                </a:solidFill>
              </a:rPr>
              <a:t>, ESCP, BRGM, EM Normandie, ESSEC, ISG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endParaRPr lang="fr-FR" sz="1600" dirty="0">
              <a:solidFill>
                <a:srgbClr val="00005A"/>
              </a:solidFill>
            </a:endParaRPr>
          </a:p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Sponsors institutionnels : </a:t>
            </a:r>
            <a:r>
              <a:rPr lang="fr-FR" sz="1600" dirty="0" err="1">
                <a:solidFill>
                  <a:srgbClr val="00005A"/>
                </a:solidFill>
              </a:rPr>
              <a:t>Ademe</a:t>
            </a:r>
            <a:r>
              <a:rPr lang="fr-FR" sz="1600" dirty="0">
                <a:solidFill>
                  <a:srgbClr val="00005A"/>
                </a:solidFill>
              </a:rPr>
              <a:t>, Ministère de la transition écologique, Ministère des Armées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dirty="0">
                <a:solidFill>
                  <a:srgbClr val="00005A"/>
                </a:solidFill>
              </a:rPr>
              <a:t> 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Fondations et associations : </a:t>
            </a:r>
            <a:r>
              <a:rPr lang="fr-FR" sz="1600" dirty="0" err="1">
                <a:solidFill>
                  <a:srgbClr val="00005A"/>
                </a:solidFill>
              </a:rPr>
              <a:t>European</a:t>
            </a:r>
            <a:r>
              <a:rPr lang="fr-FR" sz="1600" dirty="0">
                <a:solidFill>
                  <a:srgbClr val="00005A"/>
                </a:solidFill>
              </a:rPr>
              <a:t> </a:t>
            </a:r>
            <a:r>
              <a:rPr lang="fr-FR" sz="1600" dirty="0" err="1">
                <a:solidFill>
                  <a:srgbClr val="00005A"/>
                </a:solidFill>
              </a:rPr>
              <a:t>Climate</a:t>
            </a:r>
            <a:r>
              <a:rPr lang="fr-FR" sz="1600" dirty="0">
                <a:solidFill>
                  <a:srgbClr val="00005A"/>
                </a:solidFill>
              </a:rPr>
              <a:t> </a:t>
            </a:r>
            <a:r>
              <a:rPr lang="fr-FR" sz="1600" dirty="0" err="1">
                <a:solidFill>
                  <a:srgbClr val="00005A"/>
                </a:solidFill>
              </a:rPr>
              <a:t>Foundation</a:t>
            </a:r>
            <a:r>
              <a:rPr lang="fr-FR" sz="1600" dirty="0">
                <a:solidFill>
                  <a:srgbClr val="00005A"/>
                </a:solidFill>
              </a:rPr>
              <a:t>, France Urbaine, Assemblée des Communautés de France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ZoneTexte 4"/>
          <p:cNvSpPr txBox="1"/>
          <p:nvPr/>
        </p:nvSpPr>
        <p:spPr bwMode="auto">
          <a:xfrm>
            <a:off x="308498" y="5840629"/>
            <a:ext cx="102407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b="1" dirty="0">
                <a:solidFill>
                  <a:srgbClr val="00005A"/>
                </a:solidFill>
              </a:rPr>
              <a:t>Pour adhérer en tant que membre et </a:t>
            </a:r>
            <a:r>
              <a:rPr lang="fr-FR" b="1" u="sng" dirty="0">
                <a:solidFill>
                  <a:srgbClr val="00005A"/>
                </a:solidFill>
              </a:rPr>
              <a:t>rejoindre le Shift Club </a:t>
            </a:r>
            <a:r>
              <a:rPr lang="fr-FR" b="1" dirty="0">
                <a:solidFill>
                  <a:srgbClr val="00005A"/>
                </a:solidFill>
              </a:rPr>
              <a:t>:</a:t>
            </a:r>
            <a:r>
              <a:rPr lang="fr-FR" dirty="0">
                <a:solidFill>
                  <a:srgbClr val="00005A"/>
                </a:solidFill>
              </a:rPr>
              <a:t> </a:t>
            </a:r>
            <a:r>
              <a:rPr lang="fr-FR" u="sng" dirty="0">
                <a:solidFill>
                  <a:srgbClr val="FF8200"/>
                </a:solidFill>
                <a:hlinkClick r:id="rId3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enariats@theshiftproject.org</a:t>
            </a:r>
            <a:endParaRPr lang="fr-FR" u="sng" dirty="0">
              <a:solidFill>
                <a:srgbClr val="FF8200"/>
              </a:solidFill>
            </a:endParaRPr>
          </a:p>
          <a:p>
            <a:pPr>
              <a:defRPr/>
            </a:pPr>
            <a:r>
              <a:rPr lang="fr-FR" dirty="0">
                <a:solidFill>
                  <a:srgbClr val="00005A"/>
                </a:solidFill>
              </a:rPr>
              <a:t>Pour faire un don : </a:t>
            </a:r>
            <a:r>
              <a:rPr lang="fr-FR" u="sng" dirty="0">
                <a:solidFill>
                  <a:srgbClr val="FF8200"/>
                </a:solidFill>
                <a:hlinkClick r:id="rId35" tooltip="https://www.helloasso.com/associations/the-shift-project/collectes/le-shift-project-adresse-aux-pme-un-appel-a-dons-pour-son-ptef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loAsso</a:t>
            </a:r>
            <a:endParaRPr lang="fr-FR" u="sng" dirty="0">
              <a:solidFill>
                <a:srgbClr val="FF8200"/>
              </a:solidFill>
            </a:endParaRPr>
          </a:p>
          <a:p>
            <a:pPr>
              <a:defRPr/>
            </a:pPr>
            <a:r>
              <a:rPr lang="fr-FR" u="sng" dirty="0">
                <a:solidFill>
                  <a:srgbClr val="82C8FA"/>
                </a:solidFill>
              </a:rPr>
              <a:t> </a:t>
            </a:r>
            <a:endParaRPr lang="fr-FR" dirty="0">
              <a:solidFill>
                <a:srgbClr val="82C8FA"/>
              </a:solidFill>
            </a:endParaRPr>
          </a:p>
        </p:txBody>
      </p:sp>
      <p:sp>
        <p:nvSpPr>
          <p:cNvPr id="91" name="Espace réservé du numéro de diapositive 1"/>
          <p:cNvSpPr txBox="1"/>
          <p:nvPr/>
        </p:nvSpPr>
        <p:spPr bwMode="auto">
          <a:xfrm>
            <a:off x="8753475" y="6486522"/>
            <a:ext cx="2450306" cy="3683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r" defTabSz="914400">
              <a:defRPr sz="1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9</a:t>
            </a:r>
            <a:endParaRPr>
              <a:solidFill>
                <a:srgbClr val="FFFFFF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6"/>
          <a:stretch/>
        </p:blipFill>
        <p:spPr bwMode="auto">
          <a:xfrm>
            <a:off x="687657" y="4738386"/>
            <a:ext cx="1011287" cy="21400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7"/>
          <a:stretch/>
        </p:blipFill>
        <p:spPr bwMode="auto">
          <a:xfrm>
            <a:off x="3590579" y="2851354"/>
            <a:ext cx="963222" cy="174584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8"/>
          <a:srcRect l="18147" t="24496" r="16464" b="26512"/>
          <a:stretch/>
        </p:blipFill>
        <p:spPr bwMode="auto">
          <a:xfrm>
            <a:off x="5300654" y="5296670"/>
            <a:ext cx="541245" cy="286969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9"/>
          <a:stretch/>
        </p:blipFill>
        <p:spPr bwMode="auto">
          <a:xfrm>
            <a:off x="5407294" y="4586998"/>
            <a:ext cx="1403417" cy="463128"/>
          </a:xfrm>
          <a:prstGeom prst="rect">
            <a:avLst/>
          </a:prstGeom>
        </p:spPr>
      </p:pic>
      <p:pic>
        <p:nvPicPr>
          <p:cNvPr id="76" name="Image 15"/>
          <p:cNvPicPr>
            <a:picLocks noChangeAspect="1"/>
          </p:cNvPicPr>
          <p:nvPr/>
        </p:nvPicPr>
        <p:blipFill>
          <a:blip r:embed="rId4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2399" b="22453"/>
          <a:stretch/>
        </p:blipFill>
        <p:spPr bwMode="auto">
          <a:xfrm>
            <a:off x="2504990" y="4003153"/>
            <a:ext cx="798691" cy="440462"/>
          </a:xfrm>
          <a:prstGeom prst="rect">
            <a:avLst/>
          </a:prstGeom>
        </p:spPr>
      </p:pic>
      <p:pic>
        <p:nvPicPr>
          <p:cNvPr id="4104" name="Picture 8">
            <a:extLst>
              <a:ext uri="{FF2B5EF4-FFF2-40B4-BE49-F238E27FC236}">
                <a16:creationId xmlns:a16="http://schemas.microsoft.com/office/drawing/2014/main" id="{4BC74F2B-6982-4016-AA06-55DB42148C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2722" y="4740919"/>
            <a:ext cx="745168" cy="278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ZoneTexte 70">
            <a:extLst>
              <a:ext uri="{FF2B5EF4-FFF2-40B4-BE49-F238E27FC236}">
                <a16:creationId xmlns:a16="http://schemas.microsoft.com/office/drawing/2014/main" id="{DBF385CE-B732-4709-9E44-11892C27C052}"/>
              </a:ext>
            </a:extLst>
          </p:cNvPr>
          <p:cNvSpPr txBox="1"/>
          <p:nvPr/>
        </p:nvSpPr>
        <p:spPr bwMode="auto">
          <a:xfrm>
            <a:off x="6170012" y="5229542"/>
            <a:ext cx="1144893" cy="24120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1400" b="1" dirty="0">
                <a:solidFill>
                  <a:srgbClr val="000000"/>
                </a:solidFill>
                <a:latin typeface="Bahnschrift Condensed"/>
              </a:rPr>
              <a:t>Gabriel-James Safar</a:t>
            </a:r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392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1" name="Espace réservé du numéro de diapositive 40"/>
          <p:cNvSpPr>
            <a:spLocks noGrp="1"/>
          </p:cNvSpPr>
          <p:nvPr>
            <p:ph type="sldNum" sz="quarter" idx="82"/>
          </p:nvPr>
        </p:nvSpPr>
        <p:spPr bwMode="auto">
          <a:xfrm>
            <a:off x="8753475" y="6486522"/>
            <a:ext cx="2450306" cy="368300"/>
          </a:xfrm>
        </p:spPr>
        <p:txBody>
          <a:bodyPr/>
          <a:lstStyle/>
          <a:p>
            <a:pPr>
              <a:defRPr/>
            </a:pPr>
            <a:fld id="{00E0E155-A4C6-4C24-B5DD-AE65EC126F8C}" type="slidenum">
              <a:rPr lang="fr-FR"/>
              <a:t>6</a:t>
            </a:fld>
            <a:endParaRPr lang="fr-FR"/>
          </a:p>
        </p:txBody>
      </p:sp>
      <p:sp>
        <p:nvSpPr>
          <p:cNvPr id="9" name="Espace réservé du texte 3"/>
          <p:cNvSpPr>
            <a:spLocks noGrp="1"/>
          </p:cNvSpPr>
          <p:nvPr>
            <p:ph type="body" sz="quarter" idx="14"/>
          </p:nvPr>
        </p:nvSpPr>
        <p:spPr bwMode="auto">
          <a:xfrm>
            <a:off x="4799856" y="1613892"/>
            <a:ext cx="5400600" cy="1080000"/>
          </a:xfrm>
        </p:spPr>
        <p:txBody>
          <a:bodyPr/>
          <a:lstStyle/>
          <a:p>
            <a:pPr>
              <a:defRPr/>
            </a:pPr>
            <a:r>
              <a:rPr lang="fr-FR" sz="1800" dirty="0"/>
              <a:t>Laurent Delcayrou</a:t>
            </a:r>
            <a:endParaRPr dirty="0"/>
          </a:p>
          <a:p>
            <a:pPr lvl="1">
              <a:defRPr/>
            </a:pPr>
            <a:r>
              <a:rPr lang="fr-FR" sz="1400" dirty="0"/>
              <a:t>Chef de projet « Stratégies de résilience des territoires »</a:t>
            </a:r>
            <a:endParaRPr dirty="0"/>
          </a:p>
          <a:p>
            <a:pPr lvl="2">
              <a:defRPr/>
            </a:pPr>
            <a:r>
              <a:rPr lang="fr-FR" sz="1400" dirty="0"/>
              <a:t>The Shift Project</a:t>
            </a:r>
            <a:endParaRPr dirty="0"/>
          </a:p>
        </p:txBody>
      </p:sp>
      <p:pic>
        <p:nvPicPr>
          <p:cNvPr id="18" name="Espace réservé pour une image  24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11624" y="1445871"/>
            <a:ext cx="1482502" cy="14868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19" name="Titre 2"/>
          <p:cNvSpPr>
            <a:spLocks noGrp="1"/>
          </p:cNvSpPr>
          <p:nvPr>
            <p:ph type="title"/>
          </p:nvPr>
        </p:nvSpPr>
        <p:spPr bwMode="auto">
          <a:xfrm>
            <a:off x="462559" y="523632"/>
            <a:ext cx="7200000" cy="540000"/>
          </a:xfrm>
        </p:spPr>
        <p:txBody>
          <a:bodyPr/>
          <a:lstStyle/>
          <a:p>
            <a:pPr>
              <a:defRPr/>
            </a:pPr>
            <a:endParaRPr sz="2200" b="1" dirty="0">
              <a:solidFill>
                <a:schemeClr val="tx2"/>
              </a:solidFill>
            </a:endParaRPr>
          </a:p>
        </p:txBody>
      </p:sp>
      <p:pic>
        <p:nvPicPr>
          <p:cNvPr id="13" name="Espace réservé pour une image  24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11624" y="3373328"/>
            <a:ext cx="1486112" cy="1486112"/>
          </a:xfrm>
          <a:prstGeom prst="ellipse">
            <a:avLst/>
          </a:prstGeom>
          <a:noFill/>
          <a:ln>
            <a:noFill/>
          </a:ln>
        </p:spPr>
      </p:pic>
      <p:sp>
        <p:nvSpPr>
          <p:cNvPr id="15" name="Espace réservé du texte 3"/>
          <p:cNvSpPr>
            <a:spLocks noGrp="1"/>
          </p:cNvSpPr>
          <p:nvPr>
            <p:ph type="body" sz="quarter" idx="14"/>
          </p:nvPr>
        </p:nvSpPr>
        <p:spPr bwMode="auto">
          <a:xfrm>
            <a:off x="4758585" y="3576384"/>
            <a:ext cx="5400600" cy="1080000"/>
          </a:xfrm>
        </p:spPr>
        <p:txBody>
          <a:bodyPr/>
          <a:lstStyle/>
          <a:p>
            <a:pPr>
              <a:defRPr/>
            </a:pPr>
            <a:r>
              <a:rPr lang="fr-FR" sz="1800" dirty="0"/>
              <a:t>Corentin Riet</a:t>
            </a:r>
            <a:endParaRPr dirty="0"/>
          </a:p>
          <a:p>
            <a:pPr lvl="1">
              <a:defRPr/>
            </a:pPr>
            <a:r>
              <a:rPr lang="fr-FR" sz="1400" dirty="0"/>
              <a:t>Chargé de projet « Stratégies de résilience des territoires »</a:t>
            </a:r>
            <a:endParaRPr dirty="0"/>
          </a:p>
          <a:p>
            <a:pPr lvl="2">
              <a:defRPr/>
            </a:pPr>
            <a:r>
              <a:rPr lang="fr-FR" sz="1400" dirty="0"/>
              <a:t>The Shift Project</a:t>
            </a:r>
            <a:endParaRPr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9" name="Espace réservé du texte 1">
            <a:extLst>
              <a:ext uri="{FF2B5EF4-FFF2-40B4-BE49-F238E27FC236}">
                <a16:creationId xmlns:a16="http://schemas.microsoft.com/office/drawing/2014/main" id="{B574E601-5428-4143-BAF1-A9BC95F84A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896" y="215900"/>
            <a:ext cx="11400208" cy="5040312"/>
          </a:xfrm>
        </p:spPr>
        <p:txBody>
          <a:bodyPr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The Shift Project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pour une économie libérée de la contrainte carbone</a:t>
            </a:r>
            <a:endParaRPr lang="fr-FR" sz="3200" dirty="0">
              <a:solidFill>
                <a:schemeClr val="accent1"/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43A11C8-B551-43C9-8565-C6E039BB1D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579" y="1601788"/>
            <a:ext cx="11439525" cy="423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186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9440E20-5816-457D-826C-978955DF2B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09" y="2092262"/>
            <a:ext cx="2562225" cy="3629025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999926A-90E0-4CCB-A696-717F66DEB3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367904" y="1847940"/>
            <a:ext cx="4746245" cy="4392488"/>
          </a:xfrm>
          <a:prstGeom prst="rect">
            <a:avLst/>
          </a:prstGeom>
        </p:spPr>
      </p:pic>
      <p:sp>
        <p:nvSpPr>
          <p:cNvPr id="9" name="Flèche droite 40">
            <a:extLst>
              <a:ext uri="{FF2B5EF4-FFF2-40B4-BE49-F238E27FC236}">
                <a16:creationId xmlns:a16="http://schemas.microsoft.com/office/drawing/2014/main" id="{A9AD9C0C-4AD5-49B5-92B3-232A97C68B52}"/>
              </a:ext>
            </a:extLst>
          </p:cNvPr>
          <p:cNvSpPr/>
          <p:nvPr/>
        </p:nvSpPr>
        <p:spPr>
          <a:xfrm>
            <a:off x="1657350" y="3781434"/>
            <a:ext cx="3417497" cy="38117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B7C122CE-479D-4DFA-9A33-65ACFE780E1D}"/>
              </a:ext>
            </a:extLst>
          </p:cNvPr>
          <p:cNvGrpSpPr/>
          <p:nvPr/>
        </p:nvGrpSpPr>
        <p:grpSpPr>
          <a:xfrm>
            <a:off x="5099184" y="3145889"/>
            <a:ext cx="2044953" cy="1597419"/>
            <a:chOff x="7836408" y="4749491"/>
            <a:chExt cx="1728216" cy="1350000"/>
          </a:xfrm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6D326261-A2B1-4AA7-ADE7-F8A92828DF58}"/>
                </a:ext>
              </a:extLst>
            </p:cNvPr>
            <p:cNvSpPr/>
            <p:nvPr/>
          </p:nvSpPr>
          <p:spPr>
            <a:xfrm>
              <a:off x="8025516" y="4749491"/>
              <a:ext cx="1350000" cy="1350000"/>
            </a:xfrm>
            <a:prstGeom prst="ellipse">
              <a:avLst/>
            </a:prstGeom>
            <a:solidFill>
              <a:srgbClr val="FF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CE0644FF-633A-4A2B-9177-63A0A37DBA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801" t="10352" r="21828" b="-172"/>
            <a:stretch/>
          </p:blipFill>
          <p:spPr>
            <a:xfrm>
              <a:off x="7836408" y="4903283"/>
              <a:ext cx="1728216" cy="914400"/>
            </a:xfrm>
            <a:prstGeom prst="rect">
              <a:avLst/>
            </a:prstGeom>
          </p:spPr>
        </p:pic>
      </p:grpSp>
      <p:pic>
        <p:nvPicPr>
          <p:cNvPr id="14" name="Image 13">
            <a:extLst>
              <a:ext uri="{FF2B5EF4-FFF2-40B4-BE49-F238E27FC236}">
                <a16:creationId xmlns:a16="http://schemas.microsoft.com/office/drawing/2014/main" id="{31E0A50A-6400-42FC-B482-4B506995DA1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643" y="3469425"/>
            <a:ext cx="1080000" cy="1080000"/>
          </a:xfrm>
          <a:prstGeom prst="rect">
            <a:avLst/>
          </a:prstGeom>
        </p:spPr>
      </p:pic>
      <p:sp>
        <p:nvSpPr>
          <p:cNvPr id="15" name="Éclair 14">
            <a:extLst>
              <a:ext uri="{FF2B5EF4-FFF2-40B4-BE49-F238E27FC236}">
                <a16:creationId xmlns:a16="http://schemas.microsoft.com/office/drawing/2014/main" id="{1FE17031-A9B3-448F-AE87-6EF6AFCDEBC7}"/>
              </a:ext>
            </a:extLst>
          </p:cNvPr>
          <p:cNvSpPr/>
          <p:nvPr/>
        </p:nvSpPr>
        <p:spPr>
          <a:xfrm>
            <a:off x="3074400" y="3077829"/>
            <a:ext cx="499350" cy="68264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Éclair 15">
            <a:extLst>
              <a:ext uri="{FF2B5EF4-FFF2-40B4-BE49-F238E27FC236}">
                <a16:creationId xmlns:a16="http://schemas.microsoft.com/office/drawing/2014/main" id="{8655F502-66D1-4706-A4C4-AC918FC80E19}"/>
              </a:ext>
            </a:extLst>
          </p:cNvPr>
          <p:cNvSpPr/>
          <p:nvPr/>
        </p:nvSpPr>
        <p:spPr>
          <a:xfrm flipH="1">
            <a:off x="4003536" y="3184892"/>
            <a:ext cx="499350" cy="68264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Éclair 16">
            <a:extLst>
              <a:ext uri="{FF2B5EF4-FFF2-40B4-BE49-F238E27FC236}">
                <a16:creationId xmlns:a16="http://schemas.microsoft.com/office/drawing/2014/main" id="{B206C7F9-7371-49E1-901D-A8710A62B337}"/>
              </a:ext>
            </a:extLst>
          </p:cNvPr>
          <p:cNvSpPr/>
          <p:nvPr/>
        </p:nvSpPr>
        <p:spPr>
          <a:xfrm flipH="1" flipV="1">
            <a:off x="4046904" y="4280089"/>
            <a:ext cx="499350" cy="696482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Éclair 17">
            <a:extLst>
              <a:ext uri="{FF2B5EF4-FFF2-40B4-BE49-F238E27FC236}">
                <a16:creationId xmlns:a16="http://schemas.microsoft.com/office/drawing/2014/main" id="{C542893F-2428-4FD6-984A-82D96E893EA5}"/>
              </a:ext>
            </a:extLst>
          </p:cNvPr>
          <p:cNvSpPr/>
          <p:nvPr/>
        </p:nvSpPr>
        <p:spPr>
          <a:xfrm flipV="1">
            <a:off x="3167362" y="4147283"/>
            <a:ext cx="468779" cy="648446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space réservé du texte 1">
            <a:extLst>
              <a:ext uri="{FF2B5EF4-FFF2-40B4-BE49-F238E27FC236}">
                <a16:creationId xmlns:a16="http://schemas.microsoft.com/office/drawing/2014/main" id="{4219B1C5-976E-49CE-A848-751C7E44D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743728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La résilience des territoires 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pour tenir le cap de la transition écologique</a:t>
            </a:r>
            <a:endParaRPr lang="fr-FR" sz="3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8368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9" name="Espace réservé du texte 1">
            <a:extLst>
              <a:ext uri="{FF2B5EF4-FFF2-40B4-BE49-F238E27FC236}">
                <a16:creationId xmlns:a16="http://schemas.microsoft.com/office/drawing/2014/main" id="{4219B1C5-976E-49CE-A848-751C7E44D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373807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Un changement de trajectoire 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à amorcer avant la fin du mandat communal</a:t>
            </a:r>
            <a:endParaRPr lang="fr-FR" sz="3200" dirty="0">
              <a:solidFill>
                <a:schemeClr val="accent1"/>
              </a:solidFill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A6C10BD6-F957-480B-A21F-F0BC1B73F055}"/>
              </a:ext>
            </a:extLst>
          </p:cNvPr>
          <p:cNvSpPr txBox="1"/>
          <p:nvPr/>
        </p:nvSpPr>
        <p:spPr>
          <a:xfrm>
            <a:off x="7488758" y="3226944"/>
            <a:ext cx="42554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chemeClr val="tx2"/>
                </a:solidFill>
              </a:rPr>
              <a:t>Diminuer les émissions de 4,7 % par an jusqu’à 2030</a:t>
            </a:r>
          </a:p>
          <a:p>
            <a:endParaRPr lang="fr-FR" sz="2000" b="1" dirty="0">
              <a:solidFill>
                <a:schemeClr val="tx2"/>
              </a:solidFill>
            </a:endParaRPr>
          </a:p>
          <a:p>
            <a:r>
              <a:rPr lang="fr-FR" sz="2000" dirty="0">
                <a:solidFill>
                  <a:schemeClr val="tx2"/>
                </a:solidFill>
              </a:rPr>
              <a:t>contre 1,7 % depuis 2010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7FCD0D1-49F9-49B6-89A9-FB4DB710D9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687" y="1399925"/>
            <a:ext cx="6040113" cy="4834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780076"/>
      </p:ext>
    </p:extLst>
  </p:cSld>
  <p:clrMapOvr>
    <a:masterClrMapping/>
  </p:clrMapOvr>
</p:sld>
</file>

<file path=ppt/theme/theme1.xml><?xml version="1.0" encoding="utf-8"?>
<a:theme xmlns:a="http://schemas.openxmlformats.org/drawingml/2006/main" name="Texte et figures">
  <a:themeElements>
    <a:clrScheme name="Shift Project">
      <a:dk1>
        <a:srgbClr val="000000"/>
      </a:dk1>
      <a:lt1>
        <a:srgbClr val="FFFFFF"/>
      </a:lt1>
      <a:dk2>
        <a:srgbClr val="00005A"/>
      </a:dk2>
      <a:lt2>
        <a:srgbClr val="FFFFFF"/>
      </a:lt2>
      <a:accent1>
        <a:srgbClr val="00005A"/>
      </a:accent1>
      <a:accent2>
        <a:srgbClr val="FF8200"/>
      </a:accent2>
      <a:accent3>
        <a:srgbClr val="FAB464"/>
      </a:accent3>
      <a:accent4>
        <a:srgbClr val="FFDC50"/>
      </a:accent4>
      <a:accent5>
        <a:srgbClr val="82C8FA"/>
      </a:accent5>
      <a:accent6>
        <a:srgbClr val="0028DC"/>
      </a:accent6>
      <a:hlink>
        <a:srgbClr val="FF8200"/>
      </a:hlink>
      <a:folHlink>
        <a:srgbClr val="FF82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res et chapitres">
  <a:themeElements>
    <a:clrScheme name="Shift Project">
      <a:dk1>
        <a:srgbClr val="000000"/>
      </a:dk1>
      <a:lt1>
        <a:srgbClr val="FFFFFF"/>
      </a:lt1>
      <a:dk2>
        <a:srgbClr val="00005A"/>
      </a:dk2>
      <a:lt2>
        <a:srgbClr val="FFFFFF"/>
      </a:lt2>
      <a:accent1>
        <a:srgbClr val="00005A"/>
      </a:accent1>
      <a:accent2>
        <a:srgbClr val="FF8200"/>
      </a:accent2>
      <a:accent3>
        <a:srgbClr val="FAB464"/>
      </a:accent3>
      <a:accent4>
        <a:srgbClr val="FFDC50"/>
      </a:accent4>
      <a:accent5>
        <a:srgbClr val="82C8FA"/>
      </a:accent5>
      <a:accent6>
        <a:srgbClr val="0028DC"/>
      </a:accent6>
      <a:hlink>
        <a:srgbClr val="FF8200"/>
      </a:hlink>
      <a:folHlink>
        <a:srgbClr val="FF82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41</TotalTime>
  <Words>1596</Words>
  <Application>Microsoft Office PowerPoint</Application>
  <PresentationFormat>Grand écran</PresentationFormat>
  <Paragraphs>256</Paragraphs>
  <Slides>33</Slides>
  <Notes>31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3</vt:i4>
      </vt:variant>
    </vt:vector>
  </HeadingPairs>
  <TitlesOfParts>
    <vt:vector size="43" baseType="lpstr">
      <vt:lpstr>Arial</vt:lpstr>
      <vt:lpstr>Bahnschrift Condensed</vt:lpstr>
      <vt:lpstr>Calibri</vt:lpstr>
      <vt:lpstr>Poppins-Bold</vt:lpstr>
      <vt:lpstr>Poppins-SemiBold</vt:lpstr>
      <vt:lpstr>Symbol</vt:lpstr>
      <vt:lpstr>Trebuchet MS</vt:lpstr>
      <vt:lpstr>Texte et figures</vt:lpstr>
      <vt:lpstr>Titres et chapitres</vt:lpstr>
      <vt:lpstr>oleObj</vt:lpstr>
      <vt:lpstr>Présentation PowerPoint</vt:lpstr>
      <vt:lpstr>Le Shift, c’est quoi ? </vt:lpstr>
      <vt:lpstr>Comment ?   </vt:lpstr>
      <vt:lpstr>Présentation PowerPoint</vt:lpstr>
      <vt:lpstr>Qui nous finance ?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icolas Hervé</dc:creator>
  <cp:lastModifiedBy>TSP_User</cp:lastModifiedBy>
  <cp:revision>202</cp:revision>
  <cp:lastPrinted>2022-11-10T14:51:40Z</cp:lastPrinted>
  <dcterms:created xsi:type="dcterms:W3CDTF">2021-05-25T14:39:04Z</dcterms:created>
  <dcterms:modified xsi:type="dcterms:W3CDTF">2022-11-15T15:33:01Z</dcterms:modified>
</cp:coreProperties>
</file>